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3"/>
  </p:sldMasterIdLst>
  <p:notesMasterIdLst>
    <p:notesMasterId r:id="rId36"/>
  </p:notesMasterIdLst>
  <p:sldIdLst>
    <p:sldId id="256" r:id="rId4"/>
    <p:sldId id="1460" r:id="rId5"/>
    <p:sldId id="1461" r:id="rId6"/>
    <p:sldId id="1486" r:id="rId7"/>
    <p:sldId id="1488" r:id="rId8"/>
    <p:sldId id="1489" r:id="rId9"/>
    <p:sldId id="1490" r:id="rId10"/>
    <p:sldId id="1491" r:id="rId11"/>
    <p:sldId id="1492" r:id="rId12"/>
    <p:sldId id="1493" r:id="rId13"/>
    <p:sldId id="1494" r:id="rId14"/>
    <p:sldId id="1495" r:id="rId15"/>
    <p:sldId id="1496" r:id="rId16"/>
    <p:sldId id="1487" r:id="rId17"/>
    <p:sldId id="1479" r:id="rId18"/>
    <p:sldId id="1497" r:id="rId19"/>
    <p:sldId id="396" r:id="rId20"/>
    <p:sldId id="393" r:id="rId21"/>
    <p:sldId id="295" r:id="rId22"/>
    <p:sldId id="287" r:id="rId23"/>
    <p:sldId id="1480" r:id="rId24"/>
    <p:sldId id="1481" r:id="rId25"/>
    <p:sldId id="1483" r:id="rId26"/>
    <p:sldId id="1498" r:id="rId27"/>
    <p:sldId id="1471" r:id="rId28"/>
    <p:sldId id="1484" r:id="rId29"/>
    <p:sldId id="265" r:id="rId30"/>
    <p:sldId id="269" r:id="rId31"/>
    <p:sldId id="270" r:id="rId32"/>
    <p:sldId id="266" r:id="rId33"/>
    <p:sldId id="1465" r:id="rId34"/>
    <p:sldId id="1425" r:id="rId35"/>
  </p:sldIdLst>
  <p:sldSz cx="9144000" cy="5143500" type="screen16x9"/>
  <p:notesSz cx="6858000" cy="9144000"/>
  <p:custDataLst>
    <p:tags r:id="rId3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D7C3"/>
    <a:srgbClr val="EB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D24336-3B01-4C01-AABB-350DEA52559A}" v="18" dt="2023-03-02T19:07:53.5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30" autoAdjust="0"/>
    <p:restoredTop sz="94660"/>
  </p:normalViewPr>
  <p:slideViewPr>
    <p:cSldViewPr snapToGrid="0" showGuides="1">
      <p:cViewPr>
        <p:scale>
          <a:sx n="104" d="100"/>
          <a:sy n="104" d="100"/>
        </p:scale>
        <p:origin x="792" y="36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45D24336-3B01-4C01-AABB-350DEA52559A}"/>
    <pc:docChg chg="undo custSel addSld delSld modSld sldOrd">
      <pc:chgData name="Dominik Buchegger" userId="7f2052fac20aabcc" providerId="LiveId" clId="{45D24336-3B01-4C01-AABB-350DEA52559A}" dt="2023-03-02T19:11:37.373" v="416" actId="47"/>
      <pc:docMkLst>
        <pc:docMk/>
      </pc:docMkLst>
      <pc:sldChg chg="modSp mod">
        <pc:chgData name="Dominik Buchegger" userId="7f2052fac20aabcc" providerId="LiveId" clId="{45D24336-3B01-4C01-AABB-350DEA52559A}" dt="2023-03-02T18:44:23.444" v="1" actId="20577"/>
        <pc:sldMkLst>
          <pc:docMk/>
          <pc:sldMk cId="3772496692" sldId="256"/>
        </pc:sldMkLst>
        <pc:spChg chg="mod">
          <ac:chgData name="Dominik Buchegger" userId="7f2052fac20aabcc" providerId="LiveId" clId="{45D24336-3B01-4C01-AABB-350DEA52559A}" dt="2023-03-02T18:44:23.444" v="1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del">
        <pc:chgData name="Dominik Buchegger" userId="7f2052fac20aabcc" providerId="LiveId" clId="{45D24336-3B01-4C01-AABB-350DEA52559A}" dt="2023-03-02T19:07:05.050" v="242" actId="47"/>
        <pc:sldMkLst>
          <pc:docMk/>
          <pc:sldMk cId="1160448392" sldId="262"/>
        </pc:sldMkLst>
      </pc:sldChg>
      <pc:sldChg chg="del">
        <pc:chgData name="Dominik Buchegger" userId="7f2052fac20aabcc" providerId="LiveId" clId="{45D24336-3B01-4C01-AABB-350DEA52559A}" dt="2023-03-02T19:07:07.652" v="243" actId="47"/>
        <pc:sldMkLst>
          <pc:docMk/>
          <pc:sldMk cId="3167924282" sldId="263"/>
        </pc:sldMkLst>
      </pc:sldChg>
      <pc:sldChg chg="add del setBg">
        <pc:chgData name="Dominik Buchegger" userId="7f2052fac20aabcc" providerId="LiveId" clId="{45D24336-3B01-4C01-AABB-350DEA52559A}" dt="2023-03-02T19:07:46.541" v="259"/>
        <pc:sldMkLst>
          <pc:docMk/>
          <pc:sldMk cId="1256946820" sldId="265"/>
        </pc:sldMkLst>
      </pc:sldChg>
      <pc:sldChg chg="modSp mod">
        <pc:chgData name="Dominik Buchegger" userId="7f2052fac20aabcc" providerId="LiveId" clId="{45D24336-3B01-4C01-AABB-350DEA52559A}" dt="2023-03-02T19:07:31.078" v="256" actId="20577"/>
        <pc:sldMkLst>
          <pc:docMk/>
          <pc:sldMk cId="2038474157" sldId="266"/>
        </pc:sldMkLst>
        <pc:spChg chg="mod">
          <ac:chgData name="Dominik Buchegger" userId="7f2052fac20aabcc" providerId="LiveId" clId="{45D24336-3B01-4C01-AABB-350DEA52559A}" dt="2023-03-02T19:07:31.078" v="256" actId="20577"/>
          <ac:spMkLst>
            <pc:docMk/>
            <pc:sldMk cId="2038474157" sldId="266"/>
            <ac:spMk id="2" creationId="{D2C16DE5-16C7-46BC-9A07-F2E4099DED56}"/>
          </ac:spMkLst>
        </pc:spChg>
      </pc:sldChg>
      <pc:sldChg chg="del">
        <pc:chgData name="Dominik Buchegger" userId="7f2052fac20aabcc" providerId="LiveId" clId="{45D24336-3B01-4C01-AABB-350DEA52559A}" dt="2023-03-02T19:07:09.272" v="244" actId="47"/>
        <pc:sldMkLst>
          <pc:docMk/>
          <pc:sldMk cId="2078333077" sldId="267"/>
        </pc:sldMkLst>
      </pc:sldChg>
      <pc:sldChg chg="del">
        <pc:chgData name="Dominik Buchegger" userId="7f2052fac20aabcc" providerId="LiveId" clId="{45D24336-3B01-4C01-AABB-350DEA52559A}" dt="2023-03-02T19:06:43.986" v="241" actId="47"/>
        <pc:sldMkLst>
          <pc:docMk/>
          <pc:sldMk cId="3332634505" sldId="268"/>
        </pc:sldMkLst>
      </pc:sldChg>
      <pc:sldChg chg="setBg">
        <pc:chgData name="Dominik Buchegger" userId="7f2052fac20aabcc" providerId="LiveId" clId="{45D24336-3B01-4C01-AABB-350DEA52559A}" dt="2023-03-02T19:07:50.013" v="260"/>
        <pc:sldMkLst>
          <pc:docMk/>
          <pc:sldMk cId="4097384921" sldId="269"/>
        </pc:sldMkLst>
      </pc:sldChg>
      <pc:sldChg chg="setBg">
        <pc:chgData name="Dominik Buchegger" userId="7f2052fac20aabcc" providerId="LiveId" clId="{45D24336-3B01-4C01-AABB-350DEA52559A}" dt="2023-03-02T19:07:53.565" v="261"/>
        <pc:sldMkLst>
          <pc:docMk/>
          <pc:sldMk cId="2154430935" sldId="270"/>
        </pc:sldMkLst>
      </pc:sldChg>
      <pc:sldChg chg="del">
        <pc:chgData name="Dominik Buchegger" userId="7f2052fac20aabcc" providerId="LiveId" clId="{45D24336-3B01-4C01-AABB-350DEA52559A}" dt="2023-03-02T19:09:10.253" v="395" actId="47"/>
        <pc:sldMkLst>
          <pc:docMk/>
          <pc:sldMk cId="403942813" sldId="271"/>
        </pc:sldMkLst>
      </pc:sldChg>
      <pc:sldChg chg="addSp modSp add mod">
        <pc:chgData name="Dominik Buchegger" userId="7f2052fac20aabcc" providerId="LiveId" clId="{45D24336-3B01-4C01-AABB-350DEA52559A}" dt="2023-03-02T19:10:19.342" v="407" actId="108"/>
        <pc:sldMkLst>
          <pc:docMk/>
          <pc:sldMk cId="296795127" sldId="287"/>
        </pc:sldMkLst>
        <pc:spChg chg="mod">
          <ac:chgData name="Dominik Buchegger" userId="7f2052fac20aabcc" providerId="LiveId" clId="{45D24336-3B01-4C01-AABB-350DEA52559A}" dt="2023-03-02T19:10:19.342" v="407" actId="108"/>
          <ac:spMkLst>
            <pc:docMk/>
            <pc:sldMk cId="296795127" sldId="287"/>
            <ac:spMk id="2" creationId="{A6A00921-825B-4F01-B434-F18EC92753F3}"/>
          </ac:spMkLst>
        </pc:spChg>
        <pc:spChg chg="add mod">
          <ac:chgData name="Dominik Buchegger" userId="7f2052fac20aabcc" providerId="LiveId" clId="{45D24336-3B01-4C01-AABB-350DEA52559A}" dt="2023-03-02T19:04:54.948" v="227"/>
          <ac:spMkLst>
            <pc:docMk/>
            <pc:sldMk cId="296795127" sldId="287"/>
            <ac:spMk id="3" creationId="{546F8687-8435-F3A7-6823-15E0344D94A9}"/>
          </ac:spMkLst>
        </pc:spChg>
        <pc:picChg chg="mod">
          <ac:chgData name="Dominik Buchegger" userId="7f2052fac20aabcc" providerId="LiveId" clId="{45D24336-3B01-4C01-AABB-350DEA52559A}" dt="2023-03-02T19:06:37.569" v="240" actId="1076"/>
          <ac:picMkLst>
            <pc:docMk/>
            <pc:sldMk cId="296795127" sldId="287"/>
            <ac:picMk id="7" creationId="{23682B33-8904-4FFF-B78F-ED1AB97C3774}"/>
          </ac:picMkLst>
        </pc:picChg>
        <pc:picChg chg="mod">
          <ac:chgData name="Dominik Buchegger" userId="7f2052fac20aabcc" providerId="LiveId" clId="{45D24336-3B01-4C01-AABB-350DEA52559A}" dt="2023-03-02T19:06:22.211" v="237" actId="1076"/>
          <ac:picMkLst>
            <pc:docMk/>
            <pc:sldMk cId="296795127" sldId="287"/>
            <ac:picMk id="9" creationId="{4669FCDC-427B-498C-8C8C-BC1C6CF5CE8D}"/>
          </ac:picMkLst>
        </pc:picChg>
        <pc:picChg chg="mod">
          <ac:chgData name="Dominik Buchegger" userId="7f2052fac20aabcc" providerId="LiveId" clId="{45D24336-3B01-4C01-AABB-350DEA52559A}" dt="2023-03-02T19:06:27.590" v="238" actId="1076"/>
          <ac:picMkLst>
            <pc:docMk/>
            <pc:sldMk cId="296795127" sldId="287"/>
            <ac:picMk id="11" creationId="{57547AE8-0968-4833-A7FC-14BB0D058E37}"/>
          </ac:picMkLst>
        </pc:picChg>
      </pc:sldChg>
      <pc:sldChg chg="addSp modSp add mod">
        <pc:chgData name="Dominik Buchegger" userId="7f2052fac20aabcc" providerId="LiveId" clId="{45D24336-3B01-4C01-AABB-350DEA52559A}" dt="2023-03-02T19:10:14.621" v="406" actId="108"/>
        <pc:sldMkLst>
          <pc:docMk/>
          <pc:sldMk cId="1336951803" sldId="295"/>
        </pc:sldMkLst>
        <pc:spChg chg="mod">
          <ac:chgData name="Dominik Buchegger" userId="7f2052fac20aabcc" providerId="LiveId" clId="{45D24336-3B01-4C01-AABB-350DEA52559A}" dt="2023-03-02T19:10:14.621" v="406" actId="108"/>
          <ac:spMkLst>
            <pc:docMk/>
            <pc:sldMk cId="1336951803" sldId="295"/>
            <ac:spMk id="2" creationId="{A6A00921-825B-4F01-B434-F18EC92753F3}"/>
          </ac:spMkLst>
        </pc:spChg>
        <pc:spChg chg="add mod">
          <ac:chgData name="Dominik Buchegger" userId="7f2052fac20aabcc" providerId="LiveId" clId="{45D24336-3B01-4C01-AABB-350DEA52559A}" dt="2023-03-02T19:04:49.988" v="226"/>
          <ac:spMkLst>
            <pc:docMk/>
            <pc:sldMk cId="1336951803" sldId="295"/>
            <ac:spMk id="3" creationId="{33B68892-FB89-F8DF-E1B4-37B6BFC2A06F}"/>
          </ac:spMkLst>
        </pc:spChg>
        <pc:picChg chg="mod">
          <ac:chgData name="Dominik Buchegger" userId="7f2052fac20aabcc" providerId="LiveId" clId="{45D24336-3B01-4C01-AABB-350DEA52559A}" dt="2023-03-02T19:06:08.266" v="234" actId="1076"/>
          <ac:picMkLst>
            <pc:docMk/>
            <pc:sldMk cId="1336951803" sldId="295"/>
            <ac:picMk id="6" creationId="{0B10A800-89D7-4FF5-AD0A-1DE96FCD719B}"/>
          </ac:picMkLst>
        </pc:picChg>
        <pc:picChg chg="mod">
          <ac:chgData name="Dominik Buchegger" userId="7f2052fac20aabcc" providerId="LiveId" clId="{45D24336-3B01-4C01-AABB-350DEA52559A}" dt="2023-03-02T19:06:10.877" v="235" actId="1076"/>
          <ac:picMkLst>
            <pc:docMk/>
            <pc:sldMk cId="1336951803" sldId="295"/>
            <ac:picMk id="7" creationId="{175BFE36-0F30-4742-9E25-6A5B567030A1}"/>
          </ac:picMkLst>
        </pc:picChg>
      </pc:sldChg>
      <pc:sldChg chg="add del">
        <pc:chgData name="Dominik Buchegger" userId="7f2052fac20aabcc" providerId="LiveId" clId="{45D24336-3B01-4C01-AABB-350DEA52559A}" dt="2023-03-02T19:01:44.558" v="203" actId="47"/>
        <pc:sldMkLst>
          <pc:docMk/>
          <pc:sldMk cId="197478095" sldId="380"/>
        </pc:sldMkLst>
      </pc:sldChg>
      <pc:sldChg chg="add del">
        <pc:chgData name="Dominik Buchegger" userId="7f2052fac20aabcc" providerId="LiveId" clId="{45D24336-3B01-4C01-AABB-350DEA52559A}" dt="2023-03-02T19:02:07.043" v="204" actId="47"/>
        <pc:sldMkLst>
          <pc:docMk/>
          <pc:sldMk cId="3334327157" sldId="391"/>
        </pc:sldMkLst>
      </pc:sldChg>
      <pc:sldChg chg="addSp modSp add mod">
        <pc:chgData name="Dominik Buchegger" userId="7f2052fac20aabcc" providerId="LiveId" clId="{45D24336-3B01-4C01-AABB-350DEA52559A}" dt="2023-03-02T19:10:10.188" v="405" actId="108"/>
        <pc:sldMkLst>
          <pc:docMk/>
          <pc:sldMk cId="247457547" sldId="393"/>
        </pc:sldMkLst>
        <pc:spChg chg="mod">
          <ac:chgData name="Dominik Buchegger" userId="7f2052fac20aabcc" providerId="LiveId" clId="{45D24336-3B01-4C01-AABB-350DEA52559A}" dt="2023-03-02T19:10:10.188" v="405" actId="108"/>
          <ac:spMkLst>
            <pc:docMk/>
            <pc:sldMk cId="247457547" sldId="393"/>
            <ac:spMk id="2" creationId="{B5FA2CA2-50EE-C871-6D67-9F76FD616200}"/>
          </ac:spMkLst>
        </pc:spChg>
        <pc:spChg chg="add mod">
          <ac:chgData name="Dominik Buchegger" userId="7f2052fac20aabcc" providerId="LiveId" clId="{45D24336-3B01-4C01-AABB-350DEA52559A}" dt="2023-03-02T19:04:47.325" v="225"/>
          <ac:spMkLst>
            <pc:docMk/>
            <pc:sldMk cId="247457547" sldId="393"/>
            <ac:spMk id="3" creationId="{B09AEC1E-FF05-493B-9B3A-EE5218175A34}"/>
          </ac:spMkLst>
        </pc:spChg>
        <pc:spChg chg="mod">
          <ac:chgData name="Dominik Buchegger" userId="7f2052fac20aabcc" providerId="LiveId" clId="{45D24336-3B01-4C01-AABB-350DEA52559A}" dt="2023-03-02T19:05:39.912" v="231" actId="1076"/>
          <ac:spMkLst>
            <pc:docMk/>
            <pc:sldMk cId="247457547" sldId="393"/>
            <ac:spMk id="40" creationId="{63B31A7C-3CF8-8A0D-6EA2-B58492C727E7}"/>
          </ac:spMkLst>
        </pc:spChg>
        <pc:spChg chg="mod">
          <ac:chgData name="Dominik Buchegger" userId="7f2052fac20aabcc" providerId="LiveId" clId="{45D24336-3B01-4C01-AABB-350DEA52559A}" dt="2023-03-02T19:05:29.874" v="230" actId="1076"/>
          <ac:spMkLst>
            <pc:docMk/>
            <pc:sldMk cId="247457547" sldId="393"/>
            <ac:spMk id="41" creationId="{DCA0CEA9-6CD7-4E0A-C17E-F9838EBF7026}"/>
          </ac:spMkLst>
        </pc:spChg>
        <pc:spChg chg="mod">
          <ac:chgData name="Dominik Buchegger" userId="7f2052fac20aabcc" providerId="LiveId" clId="{45D24336-3B01-4C01-AABB-350DEA52559A}" dt="2023-03-02T19:05:51.307" v="233" actId="1076"/>
          <ac:spMkLst>
            <pc:docMk/>
            <pc:sldMk cId="247457547" sldId="393"/>
            <ac:spMk id="42" creationId="{89D35C59-55F7-363A-C9A8-890ADE7B9BA7}"/>
          </ac:spMkLst>
        </pc:sp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9" creationId="{93E27F4A-9A60-C6A2-55E4-BAD0E893B163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12" creationId="{5A2E2728-E849-D133-3C3D-5C0694AF35EB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20" creationId="{3AA6A429-61A1-9C38-342F-8F0ADF1D38B1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26" creationId="{9362FF98-A00E-4F90-A1BD-94AD3B64827C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0" creationId="{123D04D4-454A-5821-D9B2-D34964B8DE7D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2" creationId="{ADCC16B8-5887-DE83-6255-7A7FD6508262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6" creationId="{390318BF-3D23-F2E7-7493-3061A19B90E9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9" creationId="{696A79EB-25FF-EB78-DC76-9A4727E1C6E0}"/>
          </ac:picMkLst>
        </pc:picChg>
      </pc:sldChg>
      <pc:sldChg chg="addSp modSp add mod modClrScheme chgLayout">
        <pc:chgData name="Dominik Buchegger" userId="7f2052fac20aabcc" providerId="LiveId" clId="{45D24336-3B01-4C01-AABB-350DEA52559A}" dt="2023-03-02T19:09:52.261" v="402" actId="108"/>
        <pc:sldMkLst>
          <pc:docMk/>
          <pc:sldMk cId="1497874562" sldId="396"/>
        </pc:sldMkLst>
        <pc:spChg chg="mod ord">
          <ac:chgData name="Dominik Buchegger" userId="7f2052fac20aabcc" providerId="LiveId" clId="{45D24336-3B01-4C01-AABB-350DEA52559A}" dt="2023-03-02T19:09:52.261" v="402" actId="108"/>
          <ac:spMkLst>
            <pc:docMk/>
            <pc:sldMk cId="1497874562" sldId="396"/>
            <ac:spMk id="2" creationId="{B5FA2CA2-50EE-C871-6D67-9F76FD616200}"/>
          </ac:spMkLst>
        </pc:spChg>
        <pc:spChg chg="add mod">
          <ac:chgData name="Dominik Buchegger" userId="7f2052fac20aabcc" providerId="LiveId" clId="{45D24336-3B01-4C01-AABB-350DEA52559A}" dt="2023-03-02T19:04:44.909" v="224" actId="1076"/>
          <ac:spMkLst>
            <pc:docMk/>
            <pc:sldMk cId="1497874562" sldId="396"/>
            <ac:spMk id="3" creationId="{7E2DE2DB-D097-D670-8828-6EF047FBBBC0}"/>
          </ac:spMkLst>
        </pc:spChg>
        <pc:spChg chg="mod ord">
          <ac:chgData name="Dominik Buchegger" userId="7f2052fac20aabcc" providerId="LiveId" clId="{45D24336-3B01-4C01-AABB-350DEA52559A}" dt="2023-03-02T19:04:07.870" v="216" actId="700"/>
          <ac:spMkLst>
            <pc:docMk/>
            <pc:sldMk cId="1497874562" sldId="396"/>
            <ac:spMk id="8" creationId="{56F02FC4-56A8-D2E3-7F3C-B62A72867588}"/>
          </ac:spMkLst>
        </pc:spChg>
        <pc:spChg chg="mod ord">
          <ac:chgData name="Dominik Buchegger" userId="7f2052fac20aabcc" providerId="LiveId" clId="{45D24336-3B01-4C01-AABB-350DEA52559A}" dt="2023-03-02T19:04:07.870" v="216" actId="700"/>
          <ac:spMkLst>
            <pc:docMk/>
            <pc:sldMk cId="1497874562" sldId="396"/>
            <ac:spMk id="10" creationId="{C9BBD477-9D88-DD33-206F-7C03AFE553A6}"/>
          </ac:spMkLst>
        </pc:spChg>
        <pc:spChg chg="mod">
          <ac:chgData name="Dominik Buchegger" userId="7f2052fac20aabcc" providerId="LiveId" clId="{45D24336-3B01-4C01-AABB-350DEA52559A}" dt="2023-03-02T19:02:44.595" v="209" actId="1076"/>
          <ac:spMkLst>
            <pc:docMk/>
            <pc:sldMk cId="1497874562" sldId="396"/>
            <ac:spMk id="24" creationId="{716D88DA-FD9A-C808-D70D-C9E402881A9C}"/>
          </ac:spMkLst>
        </pc:spChg>
        <pc:spChg chg="mod">
          <ac:chgData name="Dominik Buchegger" userId="7f2052fac20aabcc" providerId="LiveId" clId="{45D24336-3B01-4C01-AABB-350DEA52559A}" dt="2023-03-02T19:03:08.323" v="210" actId="1076"/>
          <ac:spMkLst>
            <pc:docMk/>
            <pc:sldMk cId="1497874562" sldId="396"/>
            <ac:spMk id="25" creationId="{A650D962-6A17-A6A7-0AB6-BDC7843677F5}"/>
          </ac:spMkLst>
        </pc:sp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3" creationId="{E2571BEE-2F9E-E532-EBB5-7F7E9360F899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5" creationId="{1869F98A-D22B-DC66-8D52-3709D8CEC67A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7" creationId="{FE014C82-1310-BE92-6D59-CF18FC176676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9" creationId="{03D13C65-8153-E5B1-9517-990908D90739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21" creationId="{B956D91E-9B56-FB43-C526-AB490789AAE8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23" creationId="{0B97A9EB-F064-5609-1EA4-DE928CB71896}"/>
          </ac:picMkLst>
        </pc:picChg>
      </pc:sldChg>
      <pc:sldChg chg="add del">
        <pc:chgData name="Dominik Buchegger" userId="7f2052fac20aabcc" providerId="LiveId" clId="{45D24336-3B01-4C01-AABB-350DEA52559A}" dt="2023-03-02T18:45:26.932" v="12" actId="47"/>
        <pc:sldMkLst>
          <pc:docMk/>
          <pc:sldMk cId="842131732" sldId="1442"/>
        </pc:sldMkLst>
      </pc:sldChg>
      <pc:sldChg chg="add del">
        <pc:chgData name="Dominik Buchegger" userId="7f2052fac20aabcc" providerId="LiveId" clId="{45D24336-3B01-4C01-AABB-350DEA52559A}" dt="2023-03-02T18:45:27.666" v="13" actId="47"/>
        <pc:sldMkLst>
          <pc:docMk/>
          <pc:sldMk cId="916789876" sldId="1443"/>
        </pc:sldMkLst>
      </pc:sldChg>
      <pc:sldChg chg="add del">
        <pc:chgData name="Dominik Buchegger" userId="7f2052fac20aabcc" providerId="LiveId" clId="{45D24336-3B01-4C01-AABB-350DEA52559A}" dt="2023-03-02T18:45:38.915" v="14" actId="47"/>
        <pc:sldMkLst>
          <pc:docMk/>
          <pc:sldMk cId="534269199" sldId="1459"/>
        </pc:sldMkLst>
      </pc:sldChg>
      <pc:sldChg chg="modSp mod">
        <pc:chgData name="Dominik Buchegger" userId="7f2052fac20aabcc" providerId="LiveId" clId="{45D24336-3B01-4C01-AABB-350DEA52559A}" dt="2023-03-02T19:00:27.773" v="170" actId="400"/>
        <pc:sldMkLst>
          <pc:docMk/>
          <pc:sldMk cId="2946332310" sldId="1460"/>
        </pc:sldMkLst>
        <pc:spChg chg="mod">
          <ac:chgData name="Dominik Buchegger" userId="7f2052fac20aabcc" providerId="LiveId" clId="{45D24336-3B01-4C01-AABB-350DEA52559A}" dt="2023-03-02T19:00:27.773" v="170" actId="400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Dominik Buchegger" userId="7f2052fac20aabcc" providerId="LiveId" clId="{45D24336-3B01-4C01-AABB-350DEA52559A}" dt="2023-03-02T18:46:27.579" v="70" actId="20577"/>
        <pc:sldMkLst>
          <pc:docMk/>
          <pc:sldMk cId="860905568" sldId="1461"/>
        </pc:sldMkLst>
        <pc:spChg chg="mod">
          <ac:chgData name="Dominik Buchegger" userId="7f2052fac20aabcc" providerId="LiveId" clId="{45D24336-3B01-4C01-AABB-350DEA52559A}" dt="2023-03-02T18:46:27.579" v="70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del">
        <pc:chgData name="Dominik Buchegger" userId="7f2052fac20aabcc" providerId="LiveId" clId="{45D24336-3B01-4C01-AABB-350DEA52559A}" dt="2023-03-02T18:46:00.984" v="22" actId="47"/>
        <pc:sldMkLst>
          <pc:docMk/>
          <pc:sldMk cId="3026330179" sldId="1462"/>
        </pc:sldMkLst>
      </pc:sldChg>
      <pc:sldChg chg="del">
        <pc:chgData name="Dominik Buchegger" userId="7f2052fac20aabcc" providerId="LiveId" clId="{45D24336-3B01-4C01-AABB-350DEA52559A}" dt="2023-03-02T18:46:02.699" v="24" actId="47"/>
        <pc:sldMkLst>
          <pc:docMk/>
          <pc:sldMk cId="3550677829" sldId="1463"/>
        </pc:sldMkLst>
      </pc:sldChg>
      <pc:sldChg chg="add del">
        <pc:chgData name="Dominik Buchegger" userId="7f2052fac20aabcc" providerId="LiveId" clId="{45D24336-3B01-4C01-AABB-350DEA52559A}" dt="2023-03-02T19:11:37.373" v="416" actId="47"/>
        <pc:sldMkLst>
          <pc:docMk/>
          <pc:sldMk cId="1700766504" sldId="1464"/>
        </pc:sldMkLst>
      </pc:sldChg>
      <pc:sldChg chg="add">
        <pc:chgData name="Dominik Buchegger" userId="7f2052fac20aabcc" providerId="LiveId" clId="{45D24336-3B01-4C01-AABB-350DEA52559A}" dt="2023-03-02T18:53:56.964" v="169"/>
        <pc:sldMkLst>
          <pc:docMk/>
          <pc:sldMk cId="3108777804" sldId="1465"/>
        </pc:sldMkLst>
      </pc:sldChg>
      <pc:sldChg chg="add del">
        <pc:chgData name="Dominik Buchegger" userId="7f2052fac20aabcc" providerId="LiveId" clId="{45D24336-3B01-4C01-AABB-350DEA52559A}" dt="2023-03-02T18:45:40.202" v="15" actId="47"/>
        <pc:sldMkLst>
          <pc:docMk/>
          <pc:sldMk cId="2305334289" sldId="1467"/>
        </pc:sldMkLst>
      </pc:sldChg>
      <pc:sldChg chg="del">
        <pc:chgData name="Dominik Buchegger" userId="7f2052fac20aabcc" providerId="LiveId" clId="{45D24336-3B01-4C01-AABB-350DEA52559A}" dt="2023-03-02T18:45:41.299" v="16" actId="47"/>
        <pc:sldMkLst>
          <pc:docMk/>
          <pc:sldMk cId="2212591321" sldId="1468"/>
        </pc:sldMkLst>
      </pc:sldChg>
      <pc:sldChg chg="del">
        <pc:chgData name="Dominik Buchegger" userId="7f2052fac20aabcc" providerId="LiveId" clId="{45D24336-3B01-4C01-AABB-350DEA52559A}" dt="2023-03-02T18:45:42.202" v="17" actId="47"/>
        <pc:sldMkLst>
          <pc:docMk/>
          <pc:sldMk cId="2076156779" sldId="1469"/>
        </pc:sldMkLst>
      </pc:sldChg>
      <pc:sldChg chg="add ord">
        <pc:chgData name="Dominik Buchegger" userId="7f2052fac20aabcc" providerId="LiveId" clId="{45D24336-3B01-4C01-AABB-350DEA52559A}" dt="2023-03-02T19:11:27.903" v="415"/>
        <pc:sldMkLst>
          <pc:docMk/>
          <pc:sldMk cId="1056828283" sldId="1471"/>
        </pc:sldMkLst>
      </pc:sldChg>
      <pc:sldChg chg="del">
        <pc:chgData name="Dominik Buchegger" userId="7f2052fac20aabcc" providerId="LiveId" clId="{45D24336-3B01-4C01-AABB-350DEA52559A}" dt="2023-03-02T18:46:01.934" v="23" actId="47"/>
        <pc:sldMkLst>
          <pc:docMk/>
          <pc:sldMk cId="1968603738" sldId="1471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1751940798" sldId="1472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222907824" sldId="1473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273784044" sldId="1474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330371289" sldId="1475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091762455" sldId="1476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393519369" sldId="1477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1950270396" sldId="1478"/>
        </pc:sldMkLst>
      </pc:sldChg>
      <pc:sldChg chg="modSp mod">
        <pc:chgData name="Dominik Buchegger" userId="7f2052fac20aabcc" providerId="LiveId" clId="{45D24336-3B01-4C01-AABB-350DEA52559A}" dt="2023-03-02T19:00:47.085" v="172" actId="20577"/>
        <pc:sldMkLst>
          <pc:docMk/>
          <pc:sldMk cId="3803946721" sldId="1479"/>
        </pc:sldMkLst>
        <pc:spChg chg="mod">
          <ac:chgData name="Dominik Buchegger" userId="7f2052fac20aabcc" providerId="LiveId" clId="{45D24336-3B01-4C01-AABB-350DEA52559A}" dt="2023-03-02T19:00:47.085" v="172" actId="20577"/>
          <ac:spMkLst>
            <pc:docMk/>
            <pc:sldMk cId="3803946721" sldId="1479"/>
            <ac:spMk id="5" creationId="{7E3FDF42-24FB-CE25-C848-5F3471067C6C}"/>
          </ac:spMkLst>
        </pc:spChg>
      </pc:sldChg>
      <pc:sldChg chg="modSp mod">
        <pc:chgData name="Dominik Buchegger" userId="7f2052fac20aabcc" providerId="LiveId" clId="{45D24336-3B01-4C01-AABB-350DEA52559A}" dt="2023-03-02T19:01:32.602" v="202" actId="20577"/>
        <pc:sldMkLst>
          <pc:docMk/>
          <pc:sldMk cId="2447692118" sldId="1480"/>
        </pc:sldMkLst>
        <pc:spChg chg="mod">
          <ac:chgData name="Dominik Buchegger" userId="7f2052fac20aabcc" providerId="LiveId" clId="{45D24336-3B01-4C01-AABB-350DEA52559A}" dt="2023-03-02T19:01:32.602" v="202" actId="20577"/>
          <ac:spMkLst>
            <pc:docMk/>
            <pc:sldMk cId="2447692118" sldId="1480"/>
            <ac:spMk id="2" creationId="{76EA407A-0B5B-9B6F-C9D4-877962AE18C5}"/>
          </ac:spMkLst>
        </pc:spChg>
      </pc:sldChg>
      <pc:sldChg chg="modSp mod">
        <pc:chgData name="Dominik Buchegger" userId="7f2052fac20aabcc" providerId="LiveId" clId="{45D24336-3B01-4C01-AABB-350DEA52559A}" dt="2023-03-02T19:08:56.901" v="394" actId="20577"/>
        <pc:sldMkLst>
          <pc:docMk/>
          <pc:sldMk cId="427071455" sldId="1484"/>
        </pc:sldMkLst>
        <pc:spChg chg="mod">
          <ac:chgData name="Dominik Buchegger" userId="7f2052fac20aabcc" providerId="LiveId" clId="{45D24336-3B01-4C01-AABB-350DEA52559A}" dt="2023-03-02T19:08:56.901" v="394" actId="20577"/>
          <ac:spMkLst>
            <pc:docMk/>
            <pc:sldMk cId="427071455" sldId="1484"/>
            <ac:spMk id="3" creationId="{603ED5D4-D1BB-7B89-F03F-E143418179E9}"/>
          </ac:spMkLst>
        </pc:spChg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80239899" sldId="1485"/>
        </pc:sldMkLst>
      </pc:sldChg>
      <pc:sldChg chg="modSp add mod">
        <pc:chgData name="Dominik Buchegger" userId="7f2052fac20aabcc" providerId="LiveId" clId="{45D24336-3B01-4C01-AABB-350DEA52559A}" dt="2023-03-02T18:47:02.538" v="105" actId="20577"/>
        <pc:sldMkLst>
          <pc:docMk/>
          <pc:sldMk cId="2119959366" sldId="1486"/>
        </pc:sldMkLst>
        <pc:spChg chg="mod">
          <ac:chgData name="Dominik Buchegger" userId="7f2052fac20aabcc" providerId="LiveId" clId="{45D24336-3B01-4C01-AABB-350DEA52559A}" dt="2023-03-02T18:47:02.538" v="105" actId="20577"/>
          <ac:spMkLst>
            <pc:docMk/>
            <pc:sldMk cId="2119959366" sldId="1486"/>
            <ac:spMk id="4" creationId="{2A3EF0DA-D28A-3194-1F32-47FDCCFE784C}"/>
          </ac:spMkLst>
        </pc:spChg>
      </pc:sldChg>
      <pc:sldChg chg="modSp add mod">
        <pc:chgData name="Dominik Buchegger" userId="7f2052fac20aabcc" providerId="LiveId" clId="{45D24336-3B01-4C01-AABB-350DEA52559A}" dt="2023-03-02T18:48:16.854" v="130" actId="20577"/>
        <pc:sldMkLst>
          <pc:docMk/>
          <pc:sldMk cId="1460366872" sldId="1487"/>
        </pc:sldMkLst>
        <pc:spChg chg="mod">
          <ac:chgData name="Dominik Buchegger" userId="7f2052fac20aabcc" providerId="LiveId" clId="{45D24336-3B01-4C01-AABB-350DEA52559A}" dt="2023-03-02T18:48:16.854" v="130" actId="20577"/>
          <ac:spMkLst>
            <pc:docMk/>
            <pc:sldMk cId="1460366872" sldId="1487"/>
            <ac:spMk id="4" creationId="{2A3EF0DA-D28A-3194-1F32-47FDCCFE784C}"/>
          </ac:spMkLst>
        </pc:spChg>
      </pc:sldChg>
      <pc:sldChg chg="modSp add mod">
        <pc:chgData name="Dominik Buchegger" userId="7f2052fac20aabcc" providerId="LiveId" clId="{45D24336-3B01-4C01-AABB-350DEA52559A}" dt="2023-03-02T18:47:11.135" v="116" actId="20577"/>
        <pc:sldMkLst>
          <pc:docMk/>
          <pc:sldMk cId="3516342763" sldId="1488"/>
        </pc:sldMkLst>
        <pc:spChg chg="mod">
          <ac:chgData name="Dominik Buchegger" userId="7f2052fac20aabcc" providerId="LiveId" clId="{45D24336-3B01-4C01-AABB-350DEA52559A}" dt="2023-03-02T18:47:11.135" v="116" actId="20577"/>
          <ac:spMkLst>
            <pc:docMk/>
            <pc:sldMk cId="3516342763" sldId="1488"/>
            <ac:spMk id="4" creationId="{2A3EF0DA-D28A-3194-1F32-47FDCCFE784C}"/>
          </ac:spMkLst>
        </pc:spChg>
      </pc:sldChg>
      <pc:sldChg chg="modSp add del mod">
        <pc:chgData name="Dominik Buchegger" userId="7f2052fac20aabcc" providerId="LiveId" clId="{45D24336-3B01-4C01-AABB-350DEA52559A}" dt="2023-03-02T18:49:33.508" v="138" actId="27636"/>
        <pc:sldMkLst>
          <pc:docMk/>
          <pc:sldMk cId="13150127" sldId="1489"/>
        </pc:sldMkLst>
        <pc:spChg chg="mod">
          <ac:chgData name="Dominik Buchegger" userId="7f2052fac20aabcc" providerId="LiveId" clId="{45D24336-3B01-4C01-AABB-350DEA52559A}" dt="2023-03-02T18:49:33.508" v="138" actId="27636"/>
          <ac:spMkLst>
            <pc:docMk/>
            <pc:sldMk cId="13150127" sldId="1489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37.046" v="139" actId="20577"/>
        <pc:sldMkLst>
          <pc:docMk/>
          <pc:sldMk cId="4200145470" sldId="1490"/>
        </pc:sldMkLst>
        <pc:spChg chg="mod">
          <ac:chgData name="Dominik Buchegger" userId="7f2052fac20aabcc" providerId="LiveId" clId="{45D24336-3B01-4C01-AABB-350DEA52559A}" dt="2023-03-02T18:49:37.046" v="139" actId="20577"/>
          <ac:spMkLst>
            <pc:docMk/>
            <pc:sldMk cId="4200145470" sldId="1490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0.406" v="140" actId="20577"/>
        <pc:sldMkLst>
          <pc:docMk/>
          <pc:sldMk cId="4270614302" sldId="1491"/>
        </pc:sldMkLst>
        <pc:spChg chg="mod">
          <ac:chgData name="Dominik Buchegger" userId="7f2052fac20aabcc" providerId="LiveId" clId="{45D24336-3B01-4C01-AABB-350DEA52559A}" dt="2023-03-02T18:49:40.406" v="140" actId="20577"/>
          <ac:spMkLst>
            <pc:docMk/>
            <pc:sldMk cId="4270614302" sldId="1491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3.927" v="141" actId="20577"/>
        <pc:sldMkLst>
          <pc:docMk/>
          <pc:sldMk cId="708460469" sldId="1492"/>
        </pc:sldMkLst>
        <pc:spChg chg="mod">
          <ac:chgData name="Dominik Buchegger" userId="7f2052fac20aabcc" providerId="LiveId" clId="{45D24336-3B01-4C01-AABB-350DEA52559A}" dt="2023-03-02T18:49:43.927" v="141" actId="20577"/>
          <ac:spMkLst>
            <pc:docMk/>
            <pc:sldMk cId="708460469" sldId="1492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8.378" v="142" actId="20577"/>
        <pc:sldMkLst>
          <pc:docMk/>
          <pc:sldMk cId="3397366893" sldId="1493"/>
        </pc:sldMkLst>
        <pc:spChg chg="mod">
          <ac:chgData name="Dominik Buchegger" userId="7f2052fac20aabcc" providerId="LiveId" clId="{45D24336-3B01-4C01-AABB-350DEA52559A}" dt="2023-03-02T18:49:48.378" v="142" actId="20577"/>
          <ac:spMkLst>
            <pc:docMk/>
            <pc:sldMk cId="3397366893" sldId="1493"/>
            <ac:spMk id="3" creationId="{811F6EC9-ECF3-006B-D232-CFD08585C842}"/>
          </ac:spMkLst>
        </pc:spChg>
      </pc:sldChg>
      <pc:sldChg chg="modSp add del mod setBg">
        <pc:chgData name="Dominik Buchegger" userId="7f2052fac20aabcc" providerId="LiveId" clId="{45D24336-3B01-4C01-AABB-350DEA52559A}" dt="2023-03-02T18:53:01.322" v="159" actId="20577"/>
        <pc:sldMkLst>
          <pc:docMk/>
          <pc:sldMk cId="3784542473" sldId="1494"/>
        </pc:sldMkLst>
        <pc:spChg chg="mod">
          <ac:chgData name="Dominik Buchegger" userId="7f2052fac20aabcc" providerId="LiveId" clId="{45D24336-3B01-4C01-AABB-350DEA52559A}" dt="2023-03-02T18:53:01.322" v="159" actId="20577"/>
          <ac:spMkLst>
            <pc:docMk/>
            <pc:sldMk cId="3784542473" sldId="1494"/>
            <ac:spMk id="2" creationId="{DAB9456A-8FF1-4164-B0B6-A6091F6A194D}"/>
          </ac:spMkLst>
        </pc:spChg>
      </pc:sldChg>
      <pc:sldChg chg="modSp add del mod setBg">
        <pc:chgData name="Dominik Buchegger" userId="7f2052fac20aabcc" providerId="LiveId" clId="{45D24336-3B01-4C01-AABB-350DEA52559A}" dt="2023-03-02T18:53:27.559" v="168"/>
        <pc:sldMkLst>
          <pc:docMk/>
          <pc:sldMk cId="2628211509" sldId="1495"/>
        </pc:sldMkLst>
        <pc:spChg chg="mod">
          <ac:chgData name="Dominik Buchegger" userId="7f2052fac20aabcc" providerId="LiveId" clId="{45D24336-3B01-4C01-AABB-350DEA52559A}" dt="2023-03-02T18:53:10.444" v="167" actId="20577"/>
          <ac:spMkLst>
            <pc:docMk/>
            <pc:sldMk cId="2628211509" sldId="1495"/>
            <ac:spMk id="2" creationId="{DAB9456A-8FF1-4164-B0B6-A6091F6A194D}"/>
          </ac:spMkLst>
        </pc:spChg>
      </pc:sldChg>
      <pc:sldChg chg="modSp add del mod">
        <pc:chgData name="Dominik Buchegger" userId="7f2052fac20aabcc" providerId="LiveId" clId="{45D24336-3B01-4C01-AABB-350DEA52559A}" dt="2023-03-02T18:50:02.405" v="145" actId="20577"/>
        <pc:sldMkLst>
          <pc:docMk/>
          <pc:sldMk cId="3335809845" sldId="1496"/>
        </pc:sldMkLst>
        <pc:spChg chg="mod">
          <ac:chgData name="Dominik Buchegger" userId="7f2052fac20aabcc" providerId="LiveId" clId="{45D24336-3B01-4C01-AABB-350DEA52559A}" dt="2023-03-02T18:50:02.405" v="145" actId="20577"/>
          <ac:spMkLst>
            <pc:docMk/>
            <pc:sldMk cId="3335809845" sldId="1496"/>
            <ac:spMk id="3" creationId="{811F6EC9-ECF3-006B-D232-CFD08585C842}"/>
          </ac:spMkLst>
        </pc:spChg>
      </pc:sldChg>
      <pc:sldChg chg="add ord">
        <pc:chgData name="Dominik Buchegger" userId="7f2052fac20aabcc" providerId="LiveId" clId="{45D24336-3B01-4C01-AABB-350DEA52559A}" dt="2023-03-02T19:09:36.127" v="401"/>
        <pc:sldMkLst>
          <pc:docMk/>
          <pc:sldMk cId="427681406" sldId="1497"/>
        </pc:sldMkLst>
      </pc:sldChg>
      <pc:sldChg chg="add ord">
        <pc:chgData name="Dominik Buchegger" userId="7f2052fac20aabcc" providerId="LiveId" clId="{45D24336-3B01-4C01-AABB-350DEA52559A}" dt="2023-03-02T19:11:27.903" v="415"/>
        <pc:sldMkLst>
          <pc:docMk/>
          <pc:sldMk cId="2022717371" sldId="1498"/>
        </pc:sldMkLst>
      </pc:sldChg>
      <pc:sldChg chg="new del">
        <pc:chgData name="Dominik Buchegger" userId="7f2052fac20aabcc" providerId="LiveId" clId="{45D24336-3B01-4C01-AABB-350DEA52559A}" dt="2023-03-02T19:04:01.234" v="214" actId="680"/>
        <pc:sldMkLst>
          <pc:docMk/>
          <pc:sldMk cId="936815016" sldId="1499"/>
        </pc:sldMkLst>
      </pc:sldChg>
    </pc:docChg>
  </pc:docChgLst>
  <pc:docChgLst>
    <pc:chgData name="Dominik Buchegger" userId="7f2052fac20aabcc" providerId="LiveId" clId="{22CA322D-D8DE-4045-B2AD-67550FC1C8CF}"/>
    <pc:docChg chg="custSel modSld">
      <pc:chgData name="Dominik Buchegger" userId="7f2052fac20aabcc" providerId="LiveId" clId="{22CA322D-D8DE-4045-B2AD-67550FC1C8CF}" dt="2023-02-27T10:26:44.265" v="29"/>
      <pc:docMkLst>
        <pc:docMk/>
      </pc:docMkLst>
      <pc:sldChg chg="setBg">
        <pc:chgData name="Dominik Buchegger" userId="7f2052fac20aabcc" providerId="LiveId" clId="{22CA322D-D8DE-4045-B2AD-67550FC1C8CF}" dt="2023-02-27T10:26:28.385" v="26"/>
        <pc:sldMkLst>
          <pc:docMk/>
          <pc:sldMk cId="1256946820" sldId="265"/>
        </pc:sldMkLst>
      </pc:sldChg>
      <pc:sldChg chg="setBg">
        <pc:chgData name="Dominik Buchegger" userId="7f2052fac20aabcc" providerId="LiveId" clId="{22CA322D-D8DE-4045-B2AD-67550FC1C8CF}" dt="2023-02-27T10:26:44.265" v="29"/>
        <pc:sldMkLst>
          <pc:docMk/>
          <pc:sldMk cId="2038474157" sldId="266"/>
        </pc:sldMkLst>
      </pc:sldChg>
      <pc:sldChg chg="setBg">
        <pc:chgData name="Dominik Buchegger" userId="7f2052fac20aabcc" providerId="LiveId" clId="{22CA322D-D8DE-4045-B2AD-67550FC1C8CF}" dt="2023-02-27T10:26:34.471" v="27"/>
        <pc:sldMkLst>
          <pc:docMk/>
          <pc:sldMk cId="4097384921" sldId="269"/>
        </pc:sldMkLst>
      </pc:sldChg>
      <pc:sldChg chg="setBg">
        <pc:chgData name="Dominik Buchegger" userId="7f2052fac20aabcc" providerId="LiveId" clId="{22CA322D-D8DE-4045-B2AD-67550FC1C8CF}" dt="2023-02-27T10:26:39.046" v="28"/>
        <pc:sldMkLst>
          <pc:docMk/>
          <pc:sldMk cId="2154430935" sldId="270"/>
        </pc:sldMkLst>
      </pc:sldChg>
      <pc:sldChg chg="modSp mod">
        <pc:chgData name="Dominik Buchegger" userId="7f2052fac20aabcc" providerId="LiveId" clId="{22CA322D-D8DE-4045-B2AD-67550FC1C8CF}" dt="2023-02-27T10:24:58.895" v="23" actId="20577"/>
        <pc:sldMkLst>
          <pc:docMk/>
          <pc:sldMk cId="2305334289" sldId="1467"/>
        </pc:sldMkLst>
        <pc:spChg chg="mod">
          <ac:chgData name="Dominik Buchegger" userId="7f2052fac20aabcc" providerId="LiveId" clId="{22CA322D-D8DE-4045-B2AD-67550FC1C8CF}" dt="2023-02-27T10:24:58.895" v="23" actId="20577"/>
          <ac:spMkLst>
            <pc:docMk/>
            <pc:sldMk cId="2305334289" sldId="1467"/>
            <ac:spMk id="8" creationId="{2F08026C-5BB3-D151-B4A9-0621CFB67E2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02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dirty="0">
                <a:solidFill>
                  <a:schemeClr val="bg2"/>
                </a:solidFill>
              </a:rPr>
              <a:t>From </a:t>
            </a:r>
            <a:r>
              <a:rPr lang="en-GB" sz="1000" dirty="0" err="1">
                <a:solidFill>
                  <a:schemeClr val="bg2"/>
                </a:solidFill>
              </a:rPr>
              <a:t>insight</a:t>
            </a:r>
            <a:r>
              <a:rPr lang="en-GB" sz="1000" dirty="0">
                <a:solidFill>
                  <a:schemeClr val="bg2"/>
                </a:solidFill>
              </a:rPr>
              <a:t> </a:t>
            </a:r>
            <a:r>
              <a:rPr lang="en-GB" sz="1000" dirty="0" err="1">
                <a:solidFill>
                  <a:schemeClr val="bg2"/>
                </a:solidFill>
              </a:rPr>
              <a:t>to</a:t>
            </a:r>
            <a:r>
              <a:rPr lang="en-GB" sz="1000" dirty="0">
                <a:solidFill>
                  <a:schemeClr val="bg2"/>
                </a:solidFill>
              </a:rPr>
              <a:t> </a:t>
            </a:r>
            <a:r>
              <a:rPr lang="en-GB" sz="1000" dirty="0" err="1">
                <a:solidFill>
                  <a:schemeClr val="bg2"/>
                </a:solidFill>
              </a:rPr>
              <a:t>impact</a:t>
            </a:r>
            <a:r>
              <a:rPr lang="en-GB" sz="1000" dirty="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 dirty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 dirty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 dirty="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dirty="0" err="1">
                <a:solidFill>
                  <a:schemeClr val="tx1"/>
                </a:solidFill>
              </a:rPr>
              <a:t>Torstrasse</a:t>
            </a:r>
            <a:r>
              <a:rPr lang="en-GB" sz="1000" dirty="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 dirty="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(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D3ABC-0AB0-4C2B-A1BB-AF295E8AB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23DC9-82A8-46C5-B16A-F078EE7EB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73C5-F71A-478A-A93B-7105D66FF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E6C7B-4268-4C4E-8782-B736244EDCB2}" type="datetime1">
              <a:rPr lang="en-US" smtClean="0"/>
              <a:t>3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11139C-42C7-4F65-8564-C54AE6E5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720DF-61A1-4AD8-9C2C-C3396A8E0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3694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AC1F8-5111-4A51-BF37-2AE6D85F5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7234E-E109-4C6D-AB16-6155A6FEC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134559-977B-4C68-BFE4-8E91C56A2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ED6562-0053-4BAB-A903-A8FC5035C2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C1EEDB-489A-45EC-B3F7-AAF26164E1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946DA6-F611-4399-B37F-6911585FE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02/03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D6DF8F-831D-4D00-B978-70C978825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3004C9-DC77-4A4C-8AFC-35F78B227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385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 dirty="0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März 23</a:t>
            </a:fld>
            <a:endParaRPr lang="de-DE" dirty="0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 dirty="0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dirty="0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 dirty="0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  <a:p>
            <a:pPr lvl="4"/>
            <a:endParaRPr lang="en-US" noProof="0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  <p:sldLayoutId id="2147483708" r:id="rId3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dirty="0"/>
              <a:t>Grundlagen und Methoden </a:t>
            </a:r>
            <a:br>
              <a:rPr lang="de-DE" sz="4000" dirty="0"/>
            </a:br>
            <a:r>
              <a:rPr lang="de-DE" sz="4000" dirty="0"/>
              <a:t>der Informatik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 2</a:t>
            </a:r>
          </a:p>
          <a:p>
            <a:endParaRPr lang="de-DE" dirty="0"/>
          </a:p>
          <a:p>
            <a:r>
              <a:rPr lang="de-DE" dirty="0"/>
              <a:t>Dominik Buchegger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Print() (variables, </a:t>
            </a:r>
            <a:r>
              <a:rPr lang="de-DE" b="1" err="1"/>
              <a:t>strings</a:t>
            </a:r>
            <a:r>
              <a:rPr lang="de-DE" b="1"/>
              <a:t>, </a:t>
            </a:r>
            <a:r>
              <a:rPr lang="de-DE" b="1" err="1"/>
              <a:t>int</a:t>
            </a:r>
            <a:r>
              <a:rPr lang="de-DE" b="1"/>
              <a:t>, </a:t>
            </a:r>
            <a:r>
              <a:rPr lang="de-DE" b="1" err="1"/>
              <a:t>float</a:t>
            </a:r>
            <a:r>
              <a:rPr lang="de-DE" b="1"/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A4D1853-A7B3-51BE-185F-8BC5CDCDAB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8" y="1426957"/>
            <a:ext cx="4122737" cy="2902360"/>
          </a:xfrm>
          <a:solidFill>
            <a:schemeClr val="bg2">
              <a:lumMod val="95000"/>
            </a:schemeClr>
          </a:solidFill>
        </p:spPr>
        <p:txBody>
          <a:bodyPr lIns="108000" tIns="108000" rIns="108000" bIns="108000">
            <a:normAutofit/>
          </a:bodyPr>
          <a:lstStyle/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397366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today in detai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ym typeface="Wingdings" panose="05000000000000000000" pitchFamily="2" charset="2"/>
              </a:rPr>
              <a:t>If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statements</a:t>
            </a:r>
            <a:endParaRPr lang="de-DE" b="1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6" name="Content Placeholder 10">
            <a:extLst>
              <a:ext uri="{FF2B5EF4-FFF2-40B4-BE49-F238E27FC236}">
                <a16:creationId xmlns:a16="http://schemas.microsoft.com/office/drawing/2014/main" id="{B41F2488-D28D-4F4B-AFAE-8FCED03F64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781647" y="1388986"/>
            <a:ext cx="2076557" cy="2978303"/>
          </a:xfr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995626A-4E9F-698C-E958-26D00FEE8352}"/>
              </a:ext>
            </a:extLst>
          </p:cNvPr>
          <p:cNvCxnSpPr/>
          <p:nvPr/>
        </p:nvCxnSpPr>
        <p:spPr>
          <a:xfrm>
            <a:off x="6842869" y="2210308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E6E3863-39A6-2940-9266-4CC402B81E18}"/>
              </a:ext>
            </a:extLst>
          </p:cNvPr>
          <p:cNvSpPr txBox="1"/>
          <p:nvPr/>
        </p:nvSpPr>
        <p:spPr>
          <a:xfrm>
            <a:off x="4542736" y="1817880"/>
            <a:ext cx="23681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initial </a:t>
            </a:r>
          </a:p>
          <a:p>
            <a:r>
              <a:rPr lang="de-DE" err="1"/>
              <a:t>if</a:t>
            </a:r>
            <a:r>
              <a:rPr lang="de-DE"/>
              <a:t>-statement </a:t>
            </a:r>
            <a:r>
              <a:rPr lang="de-DE" err="1"/>
              <a:t>evaluat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Tru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B3DFD2-389F-2C33-6EBD-71EFCB32CEB1}"/>
              </a:ext>
            </a:extLst>
          </p:cNvPr>
          <p:cNvSpPr txBox="1"/>
          <p:nvPr/>
        </p:nvSpPr>
        <p:spPr>
          <a:xfrm>
            <a:off x="4542736" y="3193770"/>
            <a:ext cx="2333331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tatements</a:t>
            </a:r>
            <a:endParaRPr lang="de-DE"/>
          </a:p>
          <a:p>
            <a:r>
              <a:rPr lang="de-DE" err="1"/>
              <a:t>befor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b="1"/>
              <a:t>all </a:t>
            </a:r>
            <a:r>
              <a:rPr lang="de-DE" b="1" err="1"/>
              <a:t>been</a:t>
            </a:r>
            <a:endParaRPr lang="de-DE" b="1"/>
          </a:p>
          <a:p>
            <a:r>
              <a:rPr lang="de-DE" b="1" err="1"/>
              <a:t>False</a:t>
            </a:r>
            <a:r>
              <a:rPr lang="de-DE" b="1"/>
              <a:t>.</a:t>
            </a:r>
            <a:endParaRPr lang="de-DE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C620A98-A209-91E6-1C7F-2EF1348911B3}"/>
              </a:ext>
            </a:extLst>
          </p:cNvPr>
          <p:cNvCxnSpPr/>
          <p:nvPr/>
        </p:nvCxnSpPr>
        <p:spPr>
          <a:xfrm>
            <a:off x="6842869" y="3333428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E572485-3D4C-65E4-8C16-B07310E40582}"/>
              </a:ext>
            </a:extLst>
          </p:cNvPr>
          <p:cNvCxnSpPr/>
          <p:nvPr/>
        </p:nvCxnSpPr>
        <p:spPr>
          <a:xfrm>
            <a:off x="6842869" y="2607230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ECA9AE0-A95E-F31C-4E6C-D7B8F7391452}"/>
              </a:ext>
            </a:extLst>
          </p:cNvPr>
          <p:cNvSpPr txBox="1"/>
          <p:nvPr/>
        </p:nvSpPr>
        <p:spPr>
          <a:xfrm>
            <a:off x="4542736" y="2371006"/>
            <a:ext cx="2273251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elif-state</a:t>
            </a:r>
            <a:r>
              <a:rPr lang="de-DE"/>
              <a:t>-</a:t>
            </a:r>
          </a:p>
          <a:p>
            <a:r>
              <a:rPr lang="de-DE" err="1"/>
              <a:t>men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True </a:t>
            </a:r>
            <a:r>
              <a:rPr lang="de-DE" b="1"/>
              <a:t>AND</a:t>
            </a:r>
            <a:r>
              <a:rPr lang="de-DE"/>
              <a:t> all </a:t>
            </a:r>
            <a:r>
              <a:rPr lang="de-DE" err="1"/>
              <a:t>state</a:t>
            </a:r>
            <a:r>
              <a:rPr lang="de-DE"/>
              <a:t>-</a:t>
            </a:r>
          </a:p>
          <a:p>
            <a:r>
              <a:rPr lang="de-DE" err="1"/>
              <a:t>ment</a:t>
            </a:r>
            <a:r>
              <a:rPr lang="de-DE"/>
              <a:t> </a:t>
            </a:r>
            <a:r>
              <a:rPr lang="de-DE" err="1"/>
              <a:t>abov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been</a:t>
            </a:r>
            <a:r>
              <a:rPr lang="de-DE"/>
              <a:t> </a:t>
            </a:r>
            <a:r>
              <a:rPr lang="de-DE" err="1"/>
              <a:t>False</a:t>
            </a:r>
            <a:r>
              <a:rPr lang="de-DE"/>
              <a:t>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7FC425E-F44B-F4A9-769A-3BE30DAE5299}"/>
              </a:ext>
            </a:extLst>
          </p:cNvPr>
          <p:cNvCxnSpPr>
            <a:cxnSpLocks/>
          </p:cNvCxnSpPr>
          <p:nvPr/>
        </p:nvCxnSpPr>
        <p:spPr>
          <a:xfrm flipV="1">
            <a:off x="6842615" y="3603812"/>
            <a:ext cx="595982" cy="566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CBD52D89-481D-8599-7BD3-13D484CE914E}"/>
              </a:ext>
            </a:extLst>
          </p:cNvPr>
          <p:cNvSpPr txBox="1"/>
          <p:nvPr/>
        </p:nvSpPr>
        <p:spPr>
          <a:xfrm>
            <a:off x="4549108" y="3999116"/>
            <a:ext cx="269452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This </a:t>
            </a:r>
            <a:r>
              <a:rPr lang="de-DE" err="1"/>
              <a:t>if</a:t>
            </a:r>
            <a:r>
              <a:rPr lang="de-DE"/>
              <a:t>-statement will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tested</a:t>
            </a:r>
            <a:endParaRPr lang="de-DE"/>
          </a:p>
          <a:p>
            <a:r>
              <a:rPr lang="de-DE" err="1"/>
              <a:t>irrespectiv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-statement</a:t>
            </a:r>
          </a:p>
        </p:txBody>
      </p:sp>
    </p:spTree>
    <p:extLst>
      <p:ext uri="{BB962C8B-B14F-4D97-AF65-F5344CB8AC3E}">
        <p14:creationId xmlns:p14="http://schemas.microsoft.com/office/powerpoint/2010/main" val="3784542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today in detai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While</a:t>
            </a:r>
            <a:r>
              <a:rPr lang="de-DE" b="1" dirty="0"/>
              <a:t>-Loop and </a:t>
            </a:r>
            <a:r>
              <a:rPr lang="de-DE" b="1" dirty="0" err="1"/>
              <a:t>increments</a:t>
            </a:r>
            <a:endParaRPr lang="de-DE" b="1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DB64FE3-DDBA-6E81-4861-93668A8FACD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840465" y="1697329"/>
            <a:ext cx="2298818" cy="1435174"/>
          </a:xfr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7B97E28-EB46-2C58-F1C4-126D73A62B4E}"/>
              </a:ext>
            </a:extLst>
          </p:cNvPr>
          <p:cNvCxnSpPr>
            <a:cxnSpLocks/>
          </p:cNvCxnSpPr>
          <p:nvPr/>
        </p:nvCxnSpPr>
        <p:spPr>
          <a:xfrm flipV="1">
            <a:off x="5784970" y="2373591"/>
            <a:ext cx="523843" cy="758912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4932651-3D12-262A-BD4A-D8D3C05C7CDB}"/>
              </a:ext>
            </a:extLst>
          </p:cNvPr>
          <p:cNvSpPr txBox="1"/>
          <p:nvPr/>
        </p:nvSpPr>
        <p:spPr>
          <a:xfrm>
            <a:off x="4938283" y="3195450"/>
            <a:ext cx="24842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„</a:t>
            </a:r>
            <a:r>
              <a:rPr lang="de-DE" err="1"/>
              <a:t>Whil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interpeted</a:t>
            </a:r>
            <a:endParaRPr lang="de-DE"/>
          </a:p>
          <a:p>
            <a:r>
              <a:rPr lang="de-DE" err="1"/>
              <a:t>as</a:t>
            </a:r>
            <a:r>
              <a:rPr lang="de-DE"/>
              <a:t> True, do </a:t>
            </a:r>
            <a:r>
              <a:rPr lang="de-DE" err="1"/>
              <a:t>whatever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indented</a:t>
            </a:r>
            <a:endParaRPr lang="de-DE"/>
          </a:p>
          <a:p>
            <a:r>
              <a:rPr lang="de-DE"/>
              <a:t>after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lon</a:t>
            </a:r>
            <a:r>
              <a:rPr lang="de-DE"/>
              <a:t> (:) and </a:t>
            </a:r>
            <a:r>
              <a:rPr lang="de-DE" err="1"/>
              <a:t>return</a:t>
            </a:r>
            <a:r>
              <a:rPr lang="de-DE"/>
              <a:t> </a:t>
            </a:r>
            <a:r>
              <a:rPr lang="de-DE" err="1"/>
              <a:t>to</a:t>
            </a:r>
            <a:endParaRPr lang="de-DE"/>
          </a:p>
          <a:p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“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A25F54F-A97C-047C-B89F-74289631DB5B}"/>
              </a:ext>
            </a:extLst>
          </p:cNvPr>
          <p:cNvCxnSpPr/>
          <p:nvPr/>
        </p:nvCxnSpPr>
        <p:spPr>
          <a:xfrm>
            <a:off x="6700899" y="2489773"/>
            <a:ext cx="0" cy="4844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row: Curved Left 17">
            <a:extLst>
              <a:ext uri="{FF2B5EF4-FFF2-40B4-BE49-F238E27FC236}">
                <a16:creationId xmlns:a16="http://schemas.microsoft.com/office/drawing/2014/main" id="{1E26889D-A2F5-CB35-CACE-994BF3C6E932}"/>
              </a:ext>
            </a:extLst>
          </p:cNvPr>
          <p:cNvSpPr/>
          <p:nvPr/>
        </p:nvSpPr>
        <p:spPr>
          <a:xfrm flipV="1">
            <a:off x="8068983" y="2204147"/>
            <a:ext cx="502617" cy="770076"/>
          </a:xfrm>
          <a:prstGeom prst="curvedLeftArrow">
            <a:avLst/>
          </a:prstGeom>
          <a:solidFill>
            <a:srgbClr val="FF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211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Recognize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</a:t>
            </a:r>
            <a:r>
              <a:rPr lang="de-DE" err="1"/>
              <a:t>type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type() and </a:t>
            </a:r>
            <a:r>
              <a:rPr lang="de-DE" err="1"/>
              <a:t>changing</a:t>
            </a:r>
            <a:r>
              <a:rPr lang="de-DE"/>
              <a:t> </a:t>
            </a:r>
            <a:r>
              <a:rPr lang="de-DE" err="1"/>
              <a:t>var</a:t>
            </a:r>
            <a:r>
              <a:rPr lang="de-DE"/>
              <a:t> type (</a:t>
            </a:r>
            <a:r>
              <a:rPr lang="de-DE" err="1"/>
              <a:t>int</a:t>
            </a:r>
            <a:r>
              <a:rPr lang="de-DE"/>
              <a:t>(), </a:t>
            </a:r>
            <a:r>
              <a:rPr lang="de-DE" err="1"/>
              <a:t>str</a:t>
            </a:r>
            <a:r>
              <a:rPr lang="de-DE"/>
              <a:t>(), </a:t>
            </a:r>
            <a:r>
              <a:rPr lang="de-DE" err="1"/>
              <a:t>float</a:t>
            </a:r>
            <a:r>
              <a:rPr lang="de-DE"/>
              <a:t>()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Create a </a:t>
            </a:r>
            <a:r>
              <a:rPr lang="de-DE" err="1"/>
              <a:t>calculator</a:t>
            </a:r>
            <a:r>
              <a:rPr lang="de-DE"/>
              <a:t> (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user</a:t>
            </a:r>
            <a:r>
              <a:rPr lang="de-DE"/>
              <a:t> </a:t>
            </a:r>
            <a:r>
              <a:rPr lang="de-DE" err="1"/>
              <a:t>input</a:t>
            </a:r>
            <a:r>
              <a:rPr lang="de-DE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Compu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int</a:t>
            </a:r>
            <a:r>
              <a:rPr lang="de-DE"/>
              <a:t> and </a:t>
            </a:r>
            <a:r>
              <a:rPr lang="de-DE" err="1"/>
              <a:t>float</a:t>
            </a:r>
            <a:r>
              <a:rPr lang="de-DE"/>
              <a:t> vs. </a:t>
            </a:r>
            <a:r>
              <a:rPr lang="de-DE" err="1"/>
              <a:t>compu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tring</a:t>
            </a:r>
            <a:r>
              <a:rPr lang="de-DE"/>
              <a:t> and </a:t>
            </a:r>
            <a:r>
              <a:rPr lang="de-DE" err="1"/>
              <a:t>int</a:t>
            </a:r>
            <a:r>
              <a:rPr lang="de-DE"/>
              <a:t>/</a:t>
            </a:r>
            <a:r>
              <a:rPr lang="de-DE" err="1"/>
              <a:t>float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Print() (variables, </a:t>
            </a:r>
            <a:r>
              <a:rPr lang="de-DE" err="1"/>
              <a:t>strings</a:t>
            </a:r>
            <a:r>
              <a:rPr lang="de-DE"/>
              <a:t>, </a:t>
            </a:r>
            <a:r>
              <a:rPr lang="de-DE" err="1"/>
              <a:t>int</a:t>
            </a:r>
            <a:r>
              <a:rPr lang="de-DE"/>
              <a:t>, </a:t>
            </a:r>
            <a:r>
              <a:rPr lang="de-DE" err="1"/>
              <a:t>float</a:t>
            </a:r>
            <a:r>
              <a:rPr lang="de-DE"/>
              <a:t> etc.)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statement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While</a:t>
            </a:r>
            <a:r>
              <a:rPr lang="de-DE"/>
              <a:t>-Loop and </a:t>
            </a:r>
            <a:r>
              <a:rPr lang="de-DE" err="1"/>
              <a:t>increment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1"/>
              <a:t>Understanding code/</a:t>
            </a:r>
            <a:r>
              <a:rPr lang="de-DE" b="1" err="1"/>
              <a:t>error</a:t>
            </a:r>
            <a:r>
              <a:rPr lang="de-DE" b="1"/>
              <a:t> </a:t>
            </a:r>
            <a:r>
              <a:rPr lang="de-DE" b="1" err="1"/>
              <a:t>messages</a:t>
            </a:r>
            <a:r>
              <a:rPr lang="de-DE" b="1"/>
              <a:t> (</a:t>
            </a:r>
            <a:r>
              <a:rPr lang="de-DE" b="1" err="1"/>
              <a:t>AssertionError</a:t>
            </a:r>
            <a:r>
              <a:rPr lang="de-DE" b="1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AF4C924-9576-38E9-ABEA-D5E619541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487" y="2379935"/>
            <a:ext cx="4122737" cy="996404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809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Quiz</a:t>
            </a:r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366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Material on Cod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3FDF42-24FB-CE25-C848-5F3471067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9467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 dirty="0"/>
              <a:t>What are augmented assignments and how do they work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4A29ACE3-FBE3-5E1D-7BEB-1BCD7054C3F3}"/>
              </a:ext>
            </a:extLst>
          </p:cNvPr>
          <p:cNvGraphicFramePr>
            <a:graphicFrameLocks noGrp="1"/>
          </p:cNvGraphicFramePr>
          <p:nvPr/>
        </p:nvGraphicFramePr>
        <p:xfrm>
          <a:off x="358775" y="1274336"/>
          <a:ext cx="8426450" cy="2872328"/>
        </p:xfrm>
        <a:graphic>
          <a:graphicData uri="http://schemas.openxmlformats.org/drawingml/2006/table">
            <a:tbl>
              <a:tblPr firstRow="1" bandRow="1"/>
              <a:tblGrid>
                <a:gridCol w="2358301">
                  <a:extLst>
                    <a:ext uri="{9D8B030D-6E8A-4147-A177-3AD203B41FA5}">
                      <a16:colId xmlns:a16="http://schemas.microsoft.com/office/drawing/2014/main" val="255178643"/>
                    </a:ext>
                  </a:extLst>
                </a:gridCol>
                <a:gridCol w="2319152">
                  <a:extLst>
                    <a:ext uri="{9D8B030D-6E8A-4147-A177-3AD203B41FA5}">
                      <a16:colId xmlns:a16="http://schemas.microsoft.com/office/drawing/2014/main" val="3497665361"/>
                    </a:ext>
                  </a:extLst>
                </a:gridCol>
                <a:gridCol w="2181307">
                  <a:extLst>
                    <a:ext uri="{9D8B030D-6E8A-4147-A177-3AD203B41FA5}">
                      <a16:colId xmlns:a16="http://schemas.microsoft.com/office/drawing/2014/main" val="1425360005"/>
                    </a:ext>
                  </a:extLst>
                </a:gridCol>
                <a:gridCol w="1567690">
                  <a:extLst>
                    <a:ext uri="{9D8B030D-6E8A-4147-A177-3AD203B41FA5}">
                      <a16:colId xmlns:a16="http://schemas.microsoft.com/office/drawing/2014/main" val="3398981241"/>
                    </a:ext>
                  </a:extLst>
                </a:gridCol>
              </a:tblGrid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err="1">
                          <a:effectLst/>
                        </a:rPr>
                        <a:t>Augmented</a:t>
                      </a:r>
                      <a:r>
                        <a:rPr lang="de-DE" sz="1400" b="1">
                          <a:effectLst/>
                        </a:rPr>
                        <a:t> </a:t>
                      </a:r>
                      <a:r>
                        <a:rPr lang="de-DE" sz="1400" b="1" err="1">
                          <a:effectLst/>
                        </a:rPr>
                        <a:t>assignment</a:t>
                      </a:r>
                      <a:endParaRPr lang="de-DE" sz="1400" b="1">
                        <a:effectLst/>
                      </a:endParaRP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Sample expression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Explanation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Assigns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8489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+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c += 7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c = c + 7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10 to c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163927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-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d -= 4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d = d - 4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1 to d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706711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*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e *= 5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e = e * 5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20 to e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946355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**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f **= 3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f = f ** 3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8 to f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260398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/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/=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= g /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4.5 to g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121203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//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//=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= g //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4 to g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54874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%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h %= 9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h = h % 9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3 </a:t>
                      </a:r>
                      <a:r>
                        <a:rPr lang="de-DE" sz="1400" err="1">
                          <a:effectLst/>
                        </a:rPr>
                        <a:t>to</a:t>
                      </a:r>
                      <a:r>
                        <a:rPr lang="de-DE" sz="1400">
                          <a:effectLst/>
                        </a:rPr>
                        <a:t> h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5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681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ass </a:t>
            </a:r>
            <a:r>
              <a:rPr lang="de-CH" dirty="0" err="1"/>
              <a:t>by</a:t>
            </a:r>
            <a:r>
              <a:rPr lang="de-CH" dirty="0"/>
              <a:t> …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F02FC4-56A8-D2E3-7F3C-B62A728675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459" y="521385"/>
            <a:ext cx="3868340" cy="617934"/>
          </a:xfrm>
        </p:spPr>
        <p:txBody>
          <a:bodyPr/>
          <a:lstStyle/>
          <a:p>
            <a:r>
              <a:rPr lang="de-CH" dirty="0"/>
              <a:t>Valu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BBD477-9D88-DD33-206F-7C03AFE553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72000" y="521385"/>
            <a:ext cx="3887391" cy="617934"/>
          </a:xfrm>
        </p:spPr>
        <p:txBody>
          <a:bodyPr/>
          <a:lstStyle/>
          <a:p>
            <a:r>
              <a:rPr lang="de-CH" dirty="0"/>
              <a:t>Referenc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2571BEE-2F9E-E532-EBB5-7F7E9360F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19" y="1323509"/>
            <a:ext cx="1514475" cy="3643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69F98A-D22B-DC66-8D52-3709D8CEC6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857" y="2043740"/>
            <a:ext cx="1600200" cy="3071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E014C82-1310-BE92-6D59-CF18FC1766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5265" y="1376476"/>
            <a:ext cx="1022387" cy="62272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3D13C65-8153-E5B1-9517-990908D907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7863" y="2058652"/>
            <a:ext cx="1019789" cy="90230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56D91E-9B56-FB43-C526-AB490789AA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569" y="3042621"/>
            <a:ext cx="1614488" cy="25717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97A9EB-F064-5609-1EA4-DE928CB718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5265" y="3020403"/>
            <a:ext cx="1040750" cy="90230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16D88DA-FD9A-C808-D70D-C9E402881A9C}"/>
              </a:ext>
            </a:extLst>
          </p:cNvPr>
          <p:cNvSpPr txBox="1"/>
          <p:nvPr/>
        </p:nvSpPr>
        <p:spPr>
          <a:xfrm>
            <a:off x="609096" y="3922705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All </a:t>
            </a:r>
            <a:r>
              <a:rPr lang="de-CH" sz="1013" dirty="0" err="1"/>
              <a:t>single</a:t>
            </a:r>
            <a:r>
              <a:rPr lang="de-CH" sz="1013" dirty="0"/>
              <a:t> </a:t>
            </a:r>
            <a:r>
              <a:rPr lang="de-CH" sz="1013" dirty="0" err="1"/>
              <a:t>values</a:t>
            </a:r>
            <a:r>
              <a:rPr lang="de-CH" sz="1013" dirty="0"/>
              <a:t> (</a:t>
            </a:r>
            <a:r>
              <a:rPr lang="de-CH" sz="1013" dirty="0" err="1"/>
              <a:t>numbers</a:t>
            </a:r>
            <a:r>
              <a:rPr lang="de-CH" sz="1013" dirty="0"/>
              <a:t>, </a:t>
            </a:r>
            <a:r>
              <a:rPr lang="de-CH" sz="1013" dirty="0" err="1"/>
              <a:t>text</a:t>
            </a:r>
            <a:r>
              <a:rPr lang="de-CH" sz="1013" dirty="0"/>
              <a:t>, </a:t>
            </a:r>
            <a:r>
              <a:rPr lang="de-CH" sz="1013" dirty="0" err="1"/>
              <a:t>boolean</a:t>
            </a:r>
            <a:r>
              <a:rPr lang="de-CH" sz="1013" dirty="0"/>
              <a:t>)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50D962-6A17-A6A7-0AB6-BDC7843677F5}"/>
              </a:ext>
            </a:extLst>
          </p:cNvPr>
          <p:cNvSpPr txBox="1"/>
          <p:nvPr/>
        </p:nvSpPr>
        <p:spPr>
          <a:xfrm>
            <a:off x="4621746" y="4499808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Collections </a:t>
            </a:r>
            <a:r>
              <a:rPr lang="de-CH" sz="1013" dirty="0" err="1"/>
              <a:t>usually</a:t>
            </a:r>
            <a:r>
              <a:rPr lang="de-CH" sz="1013" dirty="0"/>
              <a:t>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 Most </a:t>
            </a:r>
            <a:r>
              <a:rPr lang="de-CH" sz="1013" dirty="0" err="1"/>
              <a:t>important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are</a:t>
            </a:r>
            <a:r>
              <a:rPr lang="de-CH" sz="1013" dirty="0"/>
              <a:t> </a:t>
            </a:r>
            <a:r>
              <a:rPr lang="de-CH" sz="1013" dirty="0" err="1"/>
              <a:t>lists</a:t>
            </a:r>
            <a:r>
              <a:rPr lang="de-CH" sz="1013" dirty="0"/>
              <a:t>.</a:t>
            </a:r>
            <a:endParaRPr lang="en-GB" sz="1013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25B737D-92A6-BE83-9B58-6146F9B26F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2371" y="1243192"/>
            <a:ext cx="2714625" cy="39290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F529FEA-B98C-50D3-D8F1-993D460DE7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85" y="1634825"/>
            <a:ext cx="2725632" cy="68140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E6D9F93-F884-9AE3-DE13-EF59DE44D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22371" y="2400877"/>
            <a:ext cx="2700338" cy="30718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4F99009-DA93-2632-4759-566A589B5C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01759" y="2379792"/>
            <a:ext cx="2714625" cy="86760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99877C5-982F-F94C-D644-04169A70699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97369" y="3261809"/>
            <a:ext cx="2750344" cy="3143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41A1FE5-4554-48F4-9A36-46482F1885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06500" y="3571500"/>
            <a:ext cx="3037501" cy="885752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E2DE2DB-D097-D670-8828-6EF047FBBBC0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7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8745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cope</a:t>
            </a:r>
            <a:r>
              <a:rPr lang="de-CH" dirty="0"/>
              <a:t> / Namespac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E27F4A-9A60-C6A2-55E4-BAD0E893B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651" y="869780"/>
            <a:ext cx="957263" cy="235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2E2728-E849-D133-3C3D-5C0694AF3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20" y="1063408"/>
            <a:ext cx="1571625" cy="10001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AA6A429-61A1-9C38-342F-8F0ADF1D3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51" y="2359093"/>
            <a:ext cx="2178844" cy="9072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62FF98-A00E-4F90-A1BD-94AD3B648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326" y="3189765"/>
            <a:ext cx="2171700" cy="15359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23D04D4-454A-5821-D9B2-D34964B8DE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7869" y="869780"/>
            <a:ext cx="957263" cy="23574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DCC16B8-5887-DE83-6255-7A7FD6508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6639" y="1063408"/>
            <a:ext cx="1571625" cy="1000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90318BF-3D23-F2E7-7493-3061A19B90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6639" y="2327355"/>
            <a:ext cx="2178844" cy="91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6A79EB-25FF-EB78-DC76-9A4727E1C6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6639" y="3211196"/>
            <a:ext cx="2135981" cy="15144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3B31A7C-3CF8-8A0D-6EA2-B58492C727E7}"/>
              </a:ext>
            </a:extLst>
          </p:cNvPr>
          <p:cNvSpPr txBox="1"/>
          <p:nvPr/>
        </p:nvSpPr>
        <p:spPr>
          <a:xfrm>
            <a:off x="6217707" y="1191820"/>
            <a:ext cx="2579726" cy="871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glob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everyhwer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in a </a:t>
            </a:r>
            <a:r>
              <a:rPr lang="de-CH" sz="1013" dirty="0" err="1"/>
              <a:t>lower</a:t>
            </a:r>
            <a:r>
              <a:rPr lang="de-CH" sz="1013" dirty="0"/>
              <a:t> </a:t>
            </a:r>
            <a:r>
              <a:rPr lang="de-CH" sz="1013" dirty="0" err="1"/>
              <a:t>scope</a:t>
            </a:r>
            <a:r>
              <a:rPr lang="de-CH" sz="1013" dirty="0"/>
              <a:t> (local) </a:t>
            </a:r>
            <a:r>
              <a:rPr lang="de-CH" sz="1013" dirty="0" err="1"/>
              <a:t>can</a:t>
            </a:r>
            <a:r>
              <a:rPr lang="de-CH" sz="1013" dirty="0"/>
              <a:t> not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CA0CEA9-6CD7-4E0A-C17E-F9838EBF7026}"/>
              </a:ext>
            </a:extLst>
          </p:cNvPr>
          <p:cNvSpPr txBox="1"/>
          <p:nvPr/>
        </p:nvSpPr>
        <p:spPr>
          <a:xfrm>
            <a:off x="6217707" y="3698082"/>
            <a:ext cx="2615610" cy="1027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loc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only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within</a:t>
            </a:r>
            <a:r>
              <a:rPr lang="de-CH" sz="1013" dirty="0"/>
              <a:t>.</a:t>
            </a:r>
            <a:endParaRPr lang="en-GB" sz="1013" dirty="0"/>
          </a:p>
          <a:p>
            <a:r>
              <a:rPr lang="en-GB" sz="1013" dirty="0"/>
              <a:t>Variables defined in a higher scope (global) can also be accessed (</a:t>
            </a:r>
            <a:r>
              <a:rPr lang="en-GB" sz="1013" u="sng" dirty="0"/>
              <a:t>but not changed</a:t>
            </a:r>
            <a:r>
              <a:rPr lang="en-GB" sz="1013" dirty="0"/>
              <a:t>) from here.</a:t>
            </a:r>
            <a:endParaRPr lang="de-CH" sz="1013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D35C59-55F7-363A-C9A8-890ADE7B9BA7}"/>
              </a:ext>
            </a:extLst>
          </p:cNvPr>
          <p:cNvSpPr txBox="1"/>
          <p:nvPr/>
        </p:nvSpPr>
        <p:spPr>
          <a:xfrm>
            <a:off x="4325356" y="34062"/>
            <a:ext cx="4784653" cy="71583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GB" sz="1013" b="1" u="sng" dirty="0"/>
              <a:t>Note</a:t>
            </a:r>
            <a:r>
              <a:rPr lang="en-GB" sz="1013" b="1" dirty="0"/>
              <a:t>: </a:t>
            </a:r>
            <a:r>
              <a:rPr lang="en-GB" sz="1013" dirty="0"/>
              <a:t>Not everything that is indented (e.g. if/else or loops) creates its own local scope. </a:t>
            </a:r>
          </a:p>
          <a:p>
            <a:r>
              <a:rPr lang="de-CH" sz="1013" b="1" dirty="0"/>
              <a:t>For now </a:t>
            </a:r>
            <a:r>
              <a:rPr lang="de-CH" sz="1013" dirty="0" err="1"/>
              <a:t>it</a:t>
            </a:r>
            <a:r>
              <a:rPr lang="de-CH" sz="1013" dirty="0"/>
              <a:t>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sufficient</a:t>
            </a:r>
            <a:r>
              <a:rPr lang="de-CH" sz="1013" dirty="0"/>
              <a:t> to understand that </a:t>
            </a:r>
            <a:r>
              <a:rPr lang="de-CH" sz="1013" u="sng" dirty="0" err="1"/>
              <a:t>each</a:t>
            </a:r>
            <a:r>
              <a:rPr lang="de-CH" sz="1013" u="sng" dirty="0"/>
              <a:t> function</a:t>
            </a:r>
            <a:r>
              <a:rPr lang="de-CH" sz="1013" dirty="0"/>
              <a:t> </a:t>
            </a:r>
            <a:r>
              <a:rPr lang="de-CH" sz="1013" dirty="0" err="1"/>
              <a:t>creates</a:t>
            </a:r>
            <a:r>
              <a:rPr lang="de-CH" sz="1013" dirty="0"/>
              <a:t> </a:t>
            </a:r>
            <a:r>
              <a:rPr lang="de-CH" sz="1013" dirty="0" err="1"/>
              <a:t>its</a:t>
            </a:r>
            <a:r>
              <a:rPr lang="de-CH" sz="1013" dirty="0"/>
              <a:t> own local </a:t>
            </a:r>
            <a:r>
              <a:rPr lang="de-CH" sz="1013" dirty="0" err="1"/>
              <a:t>scope</a:t>
            </a:r>
            <a:r>
              <a:rPr lang="de-CH" sz="1013" dirty="0"/>
              <a:t> which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destroyed</a:t>
            </a:r>
            <a:r>
              <a:rPr lang="de-CH" sz="1013" dirty="0"/>
              <a:t> after </a:t>
            </a:r>
            <a:r>
              <a:rPr lang="de-CH" sz="1013" dirty="0" err="1"/>
              <a:t>executing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/>
              <a:t> function.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09AEC1E-FF05-493B-9B3A-EE5218175A34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8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57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00921-825B-4F01-B434-F18EC9275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d </a:t>
            </a:r>
            <a:r>
              <a:rPr lang="de-CH" dirty="0" err="1"/>
              <a:t>Documentation</a:t>
            </a:r>
            <a:r>
              <a:rPr lang="de-CH" dirty="0"/>
              <a:t> (1)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10A800-89D7-4FF5-AD0A-1DE96FCD71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369" b="65925"/>
          <a:stretch/>
        </p:blipFill>
        <p:spPr>
          <a:xfrm>
            <a:off x="409989" y="851503"/>
            <a:ext cx="7087886" cy="1373651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75BFE36-0F30-4742-9E25-6A5B567030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647"/>
          <a:stretch/>
        </p:blipFill>
        <p:spPr>
          <a:xfrm>
            <a:off x="1837453" y="2350212"/>
            <a:ext cx="7087886" cy="2229875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3B68892-FB89-F8DF-E1B4-37B6BFC2A06F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951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58744"/>
            <a:ext cx="5292725" cy="609662"/>
          </a:xfrm>
        </p:spPr>
        <p:txBody>
          <a:bodyPr/>
          <a:lstStyle/>
          <a:p>
            <a:r>
              <a:rPr lang="en-US" dirty="0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scuss previous week’s assignment &amp; quiz</a:t>
            </a:r>
          </a:p>
          <a:p>
            <a:r>
              <a:rPr lang="en-US" strike="sngStrike" dirty="0"/>
              <a:t>Summary of the current week’s lecture content</a:t>
            </a:r>
          </a:p>
          <a:p>
            <a:r>
              <a:rPr lang="en-US" dirty="0"/>
              <a:t>Additional material on coding (today incl. Python in 7 Slides)</a:t>
            </a:r>
          </a:p>
          <a:p>
            <a:r>
              <a:rPr lang="en-US" dirty="0"/>
              <a:t>Enable you to solve the assignment by solving together the smaller exercises</a:t>
            </a:r>
          </a:p>
          <a:p>
            <a:pPr>
              <a:buAutoNum type="alphaLcPeriod" startAt="14"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You solve the assignment</a:t>
            </a:r>
          </a:p>
          <a:p>
            <a:pPr marL="0" indent="0">
              <a:buNone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n+1. Virtual Office Hour</a:t>
            </a:r>
          </a:p>
          <a:p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00921-825B-4F01-B434-F18EC9275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d </a:t>
            </a:r>
            <a:r>
              <a:rPr lang="de-CH" dirty="0" err="1"/>
              <a:t>Documentation</a:t>
            </a:r>
            <a:r>
              <a:rPr lang="de-CH" dirty="0"/>
              <a:t> (2)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682B33-8904-4FFF-B78F-ED1AB97C3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683" y="838885"/>
            <a:ext cx="7938534" cy="14367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69FCDC-427B-498C-8C8C-BC1C6CF5CE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6273" y="243443"/>
            <a:ext cx="4027044" cy="426188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547AE8-0968-4833-A7FC-14BB0D058E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8818" y="2275658"/>
            <a:ext cx="5858692" cy="2358959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F8687-8435-F3A7-6823-15E0344D94A9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951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Introduction</a:t>
            </a:r>
            <a:r>
              <a:rPr lang="de-CH" dirty="0"/>
              <a:t> to Python:</a:t>
            </a:r>
          </a:p>
          <a:p>
            <a:pPr marL="505800" indent="-685800">
              <a:buFont typeface="Arial" panose="020B0604020202020204" pitchFamily="34" charset="0"/>
              <a:buChar char="•"/>
            </a:pPr>
            <a:r>
              <a:rPr lang="de-CH" sz="3600" dirty="0"/>
              <a:t>1.5 &amp; 1.8</a:t>
            </a:r>
          </a:p>
          <a:p>
            <a:pPr marL="505800" indent="-685800">
              <a:buFont typeface="Arial" panose="020B0604020202020204" pitchFamily="34" charset="0"/>
              <a:buChar char="•"/>
            </a:pPr>
            <a:r>
              <a:rPr lang="de-CH" sz="3600" dirty="0"/>
              <a:t>2</a:t>
            </a:r>
            <a:endParaRPr lang="en-GB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sz="2800" i="1" dirty="0"/>
              <a:t>To </a:t>
            </a:r>
            <a:r>
              <a:rPr lang="de-CH" sz="2800" i="1" dirty="0" err="1"/>
              <a:t>read</a:t>
            </a:r>
            <a:r>
              <a:rPr lang="de-CH" sz="2800" i="1" dirty="0"/>
              <a:t> </a:t>
            </a:r>
            <a:r>
              <a:rPr lang="de-CH" sz="2800" i="1" dirty="0" err="1"/>
              <a:t>up</a:t>
            </a:r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4476921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15175-E7EE-90AF-B209-4B9A1834E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et’s</a:t>
            </a:r>
            <a:r>
              <a:rPr lang="de-CH" dirty="0"/>
              <a:t> </a:t>
            </a:r>
            <a:r>
              <a:rPr lang="de-CH" dirty="0" err="1"/>
              <a:t>solv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ercises</a:t>
            </a:r>
            <a:r>
              <a:rPr lang="de-CH" dirty="0"/>
              <a:t> </a:t>
            </a:r>
            <a:r>
              <a:rPr lang="de-CH" dirty="0" err="1"/>
              <a:t>together</a:t>
            </a:r>
            <a:r>
              <a:rPr lang="de-CH" dirty="0"/>
              <a:t>…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94E096-E7D8-8493-3283-2D9BF2E3D8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…to </a:t>
            </a:r>
            <a:r>
              <a:rPr lang="de-CH" dirty="0" err="1"/>
              <a:t>enable</a:t>
            </a:r>
            <a:r>
              <a:rPr lang="de-CH" dirty="0"/>
              <a:t> you to </a:t>
            </a:r>
            <a:r>
              <a:rPr lang="de-CH" dirty="0" err="1"/>
              <a:t>solv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ssignment</a:t>
            </a:r>
            <a:r>
              <a:rPr lang="de-CH" dirty="0"/>
              <a:t> on your ow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1053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Demo</a:t>
            </a:r>
          </a:p>
          <a:p>
            <a:r>
              <a:rPr lang="de-CH" sz="3600" dirty="0" err="1"/>
              <a:t>Exercise</a:t>
            </a:r>
            <a:r>
              <a:rPr lang="de-CH" sz="3600" dirty="0"/>
              <a:t> 1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9653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does the for loop work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4" y="1276350"/>
            <a:ext cx="4213225" cy="3203575"/>
          </a:xfrm>
        </p:spPr>
        <p:txBody>
          <a:bodyPr/>
          <a:lstStyle/>
          <a:p>
            <a:r>
              <a:rPr lang="de-DE"/>
              <a:t>„</a:t>
            </a:r>
            <a:r>
              <a:rPr lang="de-DE" b="1" err="1">
                <a:solidFill>
                  <a:srgbClr val="FF0000"/>
                </a:solidFill>
              </a:rPr>
              <a:t>For</a:t>
            </a:r>
            <a:r>
              <a:rPr lang="de-DE"/>
              <a:t> </a:t>
            </a:r>
            <a:r>
              <a:rPr lang="de-DE" err="1"/>
              <a:t>every</a:t>
            </a:r>
            <a:r>
              <a:rPr lang="de-DE"/>
              <a:t> </a:t>
            </a:r>
            <a:r>
              <a:rPr lang="de-DE" b="1" err="1">
                <a:solidFill>
                  <a:schemeClr val="accent1"/>
                </a:solidFill>
              </a:rPr>
              <a:t>element</a:t>
            </a:r>
            <a:r>
              <a:rPr lang="de-DE"/>
              <a:t> in a </a:t>
            </a:r>
            <a:r>
              <a:rPr lang="de-DE" b="1" err="1"/>
              <a:t>sequence</a:t>
            </a:r>
            <a:r>
              <a:rPr lang="de-DE" b="1"/>
              <a:t> </a:t>
            </a:r>
            <a:r>
              <a:rPr lang="de-DE" b="1" err="1"/>
              <a:t>of</a:t>
            </a:r>
            <a:r>
              <a:rPr lang="de-DE" b="1"/>
              <a:t> </a:t>
            </a:r>
            <a:r>
              <a:rPr lang="de-DE" b="1" err="1"/>
              <a:t>elements</a:t>
            </a:r>
            <a:r>
              <a:rPr lang="de-DE"/>
              <a:t>,</a:t>
            </a:r>
          </a:p>
          <a:p>
            <a:r>
              <a:rPr lang="de-DE"/>
              <a:t>do </a:t>
            </a:r>
            <a:r>
              <a:rPr lang="de-DE" err="1"/>
              <a:t>whatever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b="1" err="1">
                <a:solidFill>
                  <a:srgbClr val="00B0F0"/>
                </a:solidFill>
              </a:rPr>
              <a:t>indented</a:t>
            </a:r>
            <a:r>
              <a:rPr lang="de-DE"/>
              <a:t> after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lon</a:t>
            </a:r>
            <a:r>
              <a:rPr lang="de-DE"/>
              <a:t> (:) and</a:t>
            </a:r>
          </a:p>
          <a:p>
            <a:r>
              <a:rPr lang="de-DE" err="1"/>
              <a:t>retur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“</a:t>
            </a:r>
          </a:p>
          <a:p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sequenc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Are </a:t>
            </a:r>
            <a:r>
              <a:rPr lang="de-DE" err="1"/>
              <a:t>digits</a:t>
            </a:r>
            <a:r>
              <a:rPr lang="de-DE"/>
              <a:t> in a </a:t>
            </a:r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number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Are </a:t>
            </a:r>
            <a:r>
              <a:rPr lang="de-DE" err="1"/>
              <a:t>characters</a:t>
            </a:r>
            <a:r>
              <a:rPr lang="de-DE"/>
              <a:t> in a </a:t>
            </a:r>
            <a:r>
              <a:rPr lang="de-DE" err="1"/>
              <a:t>string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string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‚</a:t>
            </a:r>
            <a:r>
              <a:rPr lang="de-DE" err="1"/>
              <a:t>final_string</a:t>
            </a:r>
            <a:r>
              <a:rPr lang="de-DE"/>
              <a:t>‘ and ‚</a:t>
            </a:r>
            <a:r>
              <a:rPr lang="de-DE" err="1"/>
              <a:t>current_string</a:t>
            </a:r>
            <a:r>
              <a:rPr lang="de-DE"/>
              <a:t>‘ different?</a:t>
            </a:r>
          </a:p>
          <a:p>
            <a:endParaRPr lang="de-DE"/>
          </a:p>
          <a:p>
            <a:endParaRPr lang="de-DE"/>
          </a:p>
        </p:txBody>
      </p:sp>
      <p:sp>
        <p:nvSpPr>
          <p:cNvPr id="3" name="Inhaltsplatzhalter 4">
            <a:extLst>
              <a:ext uri="{FF2B5EF4-FFF2-40B4-BE49-F238E27FC236}">
                <a16:creationId xmlns:a16="http://schemas.microsoft.com/office/drawing/2014/main" id="{5D37AF8A-55B3-7578-737B-04B1AAEB7E6C}"/>
              </a:ext>
            </a:extLst>
          </p:cNvPr>
          <p:cNvSpPr txBox="1">
            <a:spLocks/>
          </p:cNvSpPr>
          <p:nvPr/>
        </p:nvSpPr>
        <p:spPr>
          <a:xfrm>
            <a:off x="5457924" y="1326973"/>
            <a:ext cx="3426626" cy="27843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>
            <a:defPPr>
              <a:defRPr lang="de-DE"/>
            </a:defPPr>
            <a:lvl1pPr marL="0" algn="ctr" defTabSz="6858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elements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[ ‘H’, ‘a’, ‘l’, ‘l’, ‘o’ ]</a:t>
            </a:r>
          </a:p>
          <a:p>
            <a:pPr algn="l"/>
            <a:endParaRPr lang="de-CH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“”</a:t>
            </a:r>
          </a:p>
          <a:p>
            <a:pPr algn="l"/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1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in </a:t>
            </a:r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elements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current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100" b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</a:t>
            </a: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# append element to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+=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current_string</a:t>
            </a:r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US" sz="11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algn="l"/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urrent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)</a:t>
            </a:r>
          </a:p>
          <a:p>
            <a:pPr algn="l"/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Hallo o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120C91-9166-AD67-4775-4C7C47B34ABB}"/>
              </a:ext>
            </a:extLst>
          </p:cNvPr>
          <p:cNvCxnSpPr/>
          <p:nvPr/>
        </p:nvCxnSpPr>
        <p:spPr>
          <a:xfrm>
            <a:off x="5764833" y="2305787"/>
            <a:ext cx="0" cy="44929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7173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does </a:t>
            </a:r>
            <a:r>
              <a:rPr lang="en-US" i="1"/>
              <a:t>range() </a:t>
            </a:r>
            <a:r>
              <a:rPr lang="en-US"/>
              <a:t>work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24ED6-2BDF-4AD4-9B6D-CA230FAAC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499" y="1274794"/>
            <a:ext cx="4308601" cy="924709"/>
          </a:xfrm>
        </p:spPr>
        <p:txBody>
          <a:bodyPr>
            <a:normAutofit fontScale="92500"/>
          </a:bodyPr>
          <a:lstStyle/>
          <a:p>
            <a:pPr marL="0" indent="0"/>
            <a:r>
              <a:rPr lang="en-US"/>
              <a:t>The range function creates elements (similar to a list) from a starting number to an ending number. The parameters are:</a:t>
            </a:r>
          </a:p>
          <a:p>
            <a:endParaRPr lang="en-US"/>
          </a:p>
          <a:p>
            <a:r>
              <a:rPr lang="en-US"/>
              <a:t>	range(start, stop, step)</a:t>
            </a:r>
          </a:p>
          <a:p>
            <a:endParaRPr lang="en-US"/>
          </a:p>
          <a:p>
            <a:endParaRPr lang="en-US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5</a:t>
            </a:fld>
            <a:endParaRPr lang="en-US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035E3108-3825-70A9-4C6E-FDFACDB571C4}"/>
              </a:ext>
            </a:extLst>
          </p:cNvPr>
          <p:cNvCxnSpPr>
            <a:cxnSpLocks/>
          </p:cNvCxnSpPr>
          <p:nvPr/>
        </p:nvCxnSpPr>
        <p:spPr>
          <a:xfrm>
            <a:off x="1119644" y="2097183"/>
            <a:ext cx="0" cy="2826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B8FB337-186B-851B-2D7C-D94F236DB613}"/>
              </a:ext>
            </a:extLst>
          </p:cNvPr>
          <p:cNvCxnSpPr>
            <a:cxnSpLocks/>
          </p:cNvCxnSpPr>
          <p:nvPr/>
        </p:nvCxnSpPr>
        <p:spPr>
          <a:xfrm>
            <a:off x="1535518" y="2097184"/>
            <a:ext cx="174012" cy="28266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B7683831-70C7-DE5F-EC08-7E5744DDA47D}"/>
              </a:ext>
            </a:extLst>
          </p:cNvPr>
          <p:cNvSpPr/>
          <p:nvPr/>
        </p:nvSpPr>
        <p:spPr>
          <a:xfrm>
            <a:off x="746889" y="2429695"/>
            <a:ext cx="745509" cy="1799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err="1">
                <a:solidFill>
                  <a:schemeClr val="tx1"/>
                </a:solidFill>
              </a:rPr>
              <a:t>including</a:t>
            </a:r>
            <a:endParaRPr lang="de-DE" sz="1200" i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086E3FB-D7F0-81C4-C042-73148DD50B7C}"/>
              </a:ext>
            </a:extLst>
          </p:cNvPr>
          <p:cNvSpPr/>
          <p:nvPr/>
        </p:nvSpPr>
        <p:spPr>
          <a:xfrm>
            <a:off x="1535518" y="2429694"/>
            <a:ext cx="745534" cy="1799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err="1">
                <a:solidFill>
                  <a:schemeClr val="tx1"/>
                </a:solidFill>
              </a:rPr>
              <a:t>excluding</a:t>
            </a:r>
            <a:endParaRPr lang="de-DE" sz="1200" i="1">
              <a:solidFill>
                <a:schemeClr val="tx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E9972B0-9996-4152-D15E-03E14E31B4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2221" y="1274794"/>
            <a:ext cx="1752938" cy="323542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6B37B76-2A1F-9A0E-6FFF-0110230C2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187" y="1274794"/>
            <a:ext cx="2105473" cy="1669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FB4D1C-B83D-AA4D-2F03-A9F3D41BA0ED}"/>
              </a:ext>
            </a:extLst>
          </p:cNvPr>
          <p:cNvSpPr txBox="1"/>
          <p:nvPr/>
        </p:nvSpPr>
        <p:spPr>
          <a:xfrm>
            <a:off x="339020" y="2740785"/>
            <a:ext cx="423298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err="1"/>
              <a:t>How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use</a:t>
            </a:r>
            <a:r>
              <a:rPr lang="de-CH"/>
              <a:t> </a:t>
            </a:r>
            <a:r>
              <a:rPr lang="de-CH" err="1"/>
              <a:t>the</a:t>
            </a:r>
            <a:r>
              <a:rPr lang="de-CH"/>
              <a:t> </a:t>
            </a:r>
            <a:r>
              <a:rPr lang="de-CH" err="1"/>
              <a:t>function</a:t>
            </a:r>
            <a:r>
              <a:rPr lang="de-CH"/>
              <a:t>: </a:t>
            </a:r>
          </a:p>
          <a:p>
            <a:endParaRPr lang="de-CH"/>
          </a:p>
          <a:p>
            <a:pPr>
              <a:tabLst>
                <a:tab pos="895350" algn="l"/>
              </a:tabLst>
            </a:pPr>
            <a:r>
              <a:rPr lang="de-CH" sz="1100" err="1"/>
              <a:t>range</a:t>
            </a:r>
            <a:r>
              <a:rPr lang="de-CH" sz="1100"/>
              <a:t>(5) 	</a:t>
            </a:r>
            <a:r>
              <a:rPr lang="de-CH" sz="1100">
                <a:sym typeface="Wingdings" panose="05000000000000000000" pitchFamily="2" charset="2"/>
              </a:rPr>
              <a:t> </a:t>
            </a:r>
            <a:r>
              <a:rPr lang="de-CH" sz="1100" err="1">
                <a:sym typeface="Wingdings" panose="05000000000000000000" pitchFamily="2" charset="2"/>
              </a:rPr>
              <a:t>start</a:t>
            </a:r>
            <a:r>
              <a:rPr lang="de-CH" sz="1100">
                <a:sym typeface="Wingdings" panose="05000000000000000000" pitchFamily="2" charset="2"/>
              </a:rPr>
              <a:t> at 1, </a:t>
            </a:r>
            <a:r>
              <a:rPr lang="de-CH" sz="1100" err="1">
                <a:sym typeface="Wingdings" panose="05000000000000000000" pitchFamily="2" charset="2"/>
              </a:rPr>
              <a:t>stop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before</a:t>
            </a:r>
            <a:r>
              <a:rPr lang="de-CH" sz="1100">
                <a:sym typeface="Wingdings" panose="05000000000000000000" pitchFamily="2" charset="2"/>
              </a:rPr>
              <a:t> 5, </a:t>
            </a:r>
            <a:r>
              <a:rPr lang="de-CH" sz="1100" err="1">
                <a:sym typeface="Wingdings" panose="05000000000000000000" pitchFamily="2" charset="2"/>
              </a:rPr>
              <a:t>make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steps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of</a:t>
            </a:r>
            <a:r>
              <a:rPr lang="de-CH" sz="1100">
                <a:sym typeface="Wingdings" panose="05000000000000000000" pitchFamily="2" charset="2"/>
              </a:rPr>
              <a:t> 1</a:t>
            </a:r>
          </a:p>
          <a:p>
            <a:pPr>
              <a:tabLst>
                <a:tab pos="895350" algn="l"/>
              </a:tabLst>
            </a:pPr>
            <a:r>
              <a:rPr lang="de-CH" sz="1100" err="1">
                <a:sym typeface="Wingdings" panose="05000000000000000000" pitchFamily="2" charset="2"/>
              </a:rPr>
              <a:t>range</a:t>
            </a:r>
            <a:r>
              <a:rPr lang="de-CH" sz="1100">
                <a:sym typeface="Wingdings" panose="05000000000000000000" pitchFamily="2" charset="2"/>
              </a:rPr>
              <a:t>(1, 5) 	 </a:t>
            </a:r>
            <a:r>
              <a:rPr lang="de-CH" sz="1100" err="1">
                <a:sym typeface="Wingdings" panose="05000000000000000000" pitchFamily="2" charset="2"/>
              </a:rPr>
              <a:t>start</a:t>
            </a:r>
            <a:r>
              <a:rPr lang="de-CH" sz="1100">
                <a:sym typeface="Wingdings" panose="05000000000000000000" pitchFamily="2" charset="2"/>
              </a:rPr>
              <a:t> at 1, </a:t>
            </a:r>
            <a:r>
              <a:rPr lang="de-CH" sz="1100" err="1">
                <a:sym typeface="Wingdings" panose="05000000000000000000" pitchFamily="2" charset="2"/>
              </a:rPr>
              <a:t>stop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before</a:t>
            </a:r>
            <a:r>
              <a:rPr lang="de-CH" sz="1100">
                <a:sym typeface="Wingdings" panose="05000000000000000000" pitchFamily="2" charset="2"/>
              </a:rPr>
              <a:t> 5, </a:t>
            </a:r>
            <a:r>
              <a:rPr lang="de-CH" sz="1100" err="1">
                <a:sym typeface="Wingdings" panose="05000000000000000000" pitchFamily="2" charset="2"/>
              </a:rPr>
              <a:t>make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steps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of</a:t>
            </a:r>
            <a:r>
              <a:rPr lang="de-CH" sz="1100">
                <a:sym typeface="Wingdings" panose="05000000000000000000" pitchFamily="2" charset="2"/>
              </a:rPr>
              <a:t> 1</a:t>
            </a:r>
          </a:p>
          <a:p>
            <a:pPr>
              <a:tabLst>
                <a:tab pos="895350" algn="l"/>
              </a:tabLst>
            </a:pPr>
            <a:r>
              <a:rPr lang="de-CH" sz="1100" err="1">
                <a:sym typeface="Wingdings" panose="05000000000000000000" pitchFamily="2" charset="2"/>
              </a:rPr>
              <a:t>range</a:t>
            </a:r>
            <a:r>
              <a:rPr lang="de-CH" sz="1100">
                <a:sym typeface="Wingdings" panose="05000000000000000000" pitchFamily="2" charset="2"/>
              </a:rPr>
              <a:t>(1, 5, 2) 	 </a:t>
            </a:r>
            <a:r>
              <a:rPr lang="de-CH" sz="1100" err="1">
                <a:sym typeface="Wingdings" panose="05000000000000000000" pitchFamily="2" charset="2"/>
              </a:rPr>
              <a:t>start</a:t>
            </a:r>
            <a:r>
              <a:rPr lang="de-CH" sz="1100">
                <a:sym typeface="Wingdings" panose="05000000000000000000" pitchFamily="2" charset="2"/>
              </a:rPr>
              <a:t> at 1, </a:t>
            </a:r>
            <a:r>
              <a:rPr lang="de-CH" sz="1100" err="1">
                <a:sym typeface="Wingdings" panose="05000000000000000000" pitchFamily="2" charset="2"/>
              </a:rPr>
              <a:t>stop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before</a:t>
            </a:r>
            <a:r>
              <a:rPr lang="de-CH" sz="1100">
                <a:sym typeface="Wingdings" panose="05000000000000000000" pitchFamily="2" charset="2"/>
              </a:rPr>
              <a:t> 5, </a:t>
            </a:r>
            <a:r>
              <a:rPr lang="de-CH" sz="1100" err="1">
                <a:sym typeface="Wingdings" panose="05000000000000000000" pitchFamily="2" charset="2"/>
              </a:rPr>
              <a:t>make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steps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of</a:t>
            </a:r>
            <a:r>
              <a:rPr lang="de-CH" sz="1100">
                <a:sym typeface="Wingdings" panose="05000000000000000000" pitchFamily="2" charset="2"/>
              </a:rPr>
              <a:t> 2</a:t>
            </a:r>
          </a:p>
          <a:p>
            <a:pPr>
              <a:tabLst>
                <a:tab pos="895350" algn="l"/>
              </a:tabLst>
            </a:pPr>
            <a:endParaRPr lang="de-CH" sz="1100"/>
          </a:p>
          <a:p>
            <a:pPr>
              <a:tabLst>
                <a:tab pos="895350" algn="l"/>
              </a:tabLst>
            </a:pPr>
            <a:r>
              <a:rPr lang="de-CH" sz="1100" err="1"/>
              <a:t>range</a:t>
            </a:r>
            <a:r>
              <a:rPr lang="de-CH" sz="1100"/>
              <a:t>(0, x, 1)	</a:t>
            </a:r>
            <a:r>
              <a:rPr lang="de-CH" sz="1100">
                <a:sym typeface="Wingdings" panose="05000000000000000000" pitchFamily="2" charset="2"/>
              </a:rPr>
              <a:t> </a:t>
            </a:r>
            <a:r>
              <a:rPr lang="de-CH" sz="1100" err="1">
                <a:sym typeface="Wingdings" panose="05000000000000000000" pitchFamily="2" charset="2"/>
              </a:rPr>
              <a:t>default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parameters</a:t>
            </a:r>
            <a:r>
              <a:rPr lang="de-CH" sz="1100">
                <a:sym typeface="Wingdings" panose="05000000000000000000" pitchFamily="2" charset="2"/>
              </a:rPr>
              <a:t>, </a:t>
            </a:r>
            <a:r>
              <a:rPr lang="de-CH" sz="1100" err="1">
                <a:sym typeface="Wingdings" panose="05000000000000000000" pitchFamily="2" charset="2"/>
              </a:rPr>
              <a:t>if</a:t>
            </a:r>
            <a:r>
              <a:rPr lang="de-CH" sz="1100">
                <a:sym typeface="Wingdings" panose="05000000000000000000" pitchFamily="2" charset="2"/>
              </a:rPr>
              <a:t> not </a:t>
            </a:r>
            <a:r>
              <a:rPr lang="de-CH" sz="1100" err="1">
                <a:sym typeface="Wingdings" panose="05000000000000000000" pitchFamily="2" charset="2"/>
              </a:rPr>
              <a:t>specified</a:t>
            </a:r>
            <a:r>
              <a:rPr lang="de-CH" sz="1100">
                <a:sym typeface="Wingdings" panose="05000000000000000000" pitchFamily="2" charset="2"/>
              </a:rPr>
              <a:t> </a:t>
            </a:r>
            <a:r>
              <a:rPr lang="de-CH" sz="1100" err="1">
                <a:sym typeface="Wingdings" panose="05000000000000000000" pitchFamily="2" charset="2"/>
              </a:rPr>
              <a:t>otherwise</a:t>
            </a:r>
            <a:endParaRPr lang="de-CH" sz="1100"/>
          </a:p>
        </p:txBody>
      </p:sp>
    </p:spTree>
    <p:extLst>
      <p:ext uri="{BB962C8B-B14F-4D97-AF65-F5344CB8AC3E}">
        <p14:creationId xmlns:p14="http://schemas.microsoft.com/office/powerpoint/2010/main" val="1056828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3ED5D4-D1BB-7B89-F03F-E143418179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2"/>
            <a:ext cx="7957225" cy="2763099"/>
          </a:xfrm>
        </p:spPr>
        <p:txBody>
          <a:bodyPr>
            <a:normAutofit fontScale="70000" lnSpcReduction="20000"/>
          </a:bodyPr>
          <a:lstStyle/>
          <a:p>
            <a:r>
              <a:rPr lang="en-US" sz="6500" dirty="0"/>
              <a:t>“Summary” of Coding Python in 7 Slides</a:t>
            </a:r>
            <a:endParaRPr lang="en-GB" sz="6500" dirty="0"/>
          </a:p>
          <a:p>
            <a:pPr lvl="1">
              <a:lnSpc>
                <a:spcPct val="110000"/>
              </a:lnSpc>
            </a:pPr>
            <a:endParaRPr lang="en-US" sz="2400" dirty="0"/>
          </a:p>
          <a:p>
            <a:pPr lvl="1">
              <a:lnSpc>
                <a:spcPct val="110000"/>
              </a:lnSpc>
            </a:pPr>
            <a:r>
              <a:rPr lang="en-US" sz="3600" dirty="0"/>
              <a:t>Let’s take a look at the things still open from last week….</a:t>
            </a:r>
          </a:p>
          <a:p>
            <a:pPr lvl="1">
              <a:lnSpc>
                <a:spcPct val="110000"/>
              </a:lnSpc>
            </a:pPr>
            <a:r>
              <a:rPr lang="en-US" sz="3600" dirty="0"/>
              <a:t> </a:t>
            </a:r>
          </a:p>
          <a:p>
            <a:pPr lvl="1">
              <a:lnSpc>
                <a:spcPct val="110000"/>
              </a:lnSpc>
            </a:pPr>
            <a:r>
              <a:rPr lang="en-US" sz="3600" dirty="0"/>
              <a:t> </a:t>
            </a:r>
            <a:endParaRPr lang="en-US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2E9E2-85FE-8265-E09C-3F95517F80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8000" y="3827721"/>
            <a:ext cx="7470713" cy="754911"/>
          </a:xfrm>
        </p:spPr>
        <p:txBody>
          <a:bodyPr/>
          <a:lstStyle/>
          <a:p>
            <a:r>
              <a:rPr lang="en-US" sz="2400" b="1" dirty="0"/>
              <a:t>Do you know all of these things now?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70714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9468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num = 4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849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num = 5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30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wee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3ED5D4-D1BB-7B89-F03F-E143418179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16DE5-16C7-46BC-9A07-F2E4099DE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next week in detail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8F447-A2CB-459E-9001-15E6D0525E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 function is a block of code that only runs when it is called by its </a:t>
            </a:r>
            <a:r>
              <a:rPr lang="en-US" dirty="0">
                <a:solidFill>
                  <a:schemeClr val="accent3"/>
                </a:solidFill>
              </a:rPr>
              <a:t>function name</a:t>
            </a:r>
          </a:p>
          <a:p>
            <a:r>
              <a:rPr lang="en-US" dirty="0"/>
              <a:t>You can pass data, known as </a:t>
            </a:r>
            <a:r>
              <a:rPr lang="en-US" dirty="0">
                <a:solidFill>
                  <a:schemeClr val="accent4"/>
                </a:solidFill>
              </a:rPr>
              <a:t>parameters</a:t>
            </a:r>
            <a:r>
              <a:rPr lang="en-US" dirty="0"/>
              <a:t>, into a function.</a:t>
            </a:r>
          </a:p>
          <a:p>
            <a:r>
              <a:rPr lang="en-US" dirty="0"/>
              <a:t>A function can </a:t>
            </a:r>
            <a:r>
              <a:rPr lang="en-US" dirty="0">
                <a:solidFill>
                  <a:schemeClr val="accent1"/>
                </a:solidFill>
              </a:rPr>
              <a:t>return data </a:t>
            </a:r>
            <a:r>
              <a:rPr lang="en-US" dirty="0"/>
              <a:t>as a result.</a:t>
            </a:r>
          </a:p>
          <a:p>
            <a:pPr marL="0" indent="0"/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ef 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: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x = 5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y = 3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z = x + y + number</a:t>
            </a:r>
          </a:p>
          <a:p>
            <a:pPr marL="0" indent="0"/>
            <a:r>
              <a:rPr lang="en-US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return z</a:t>
            </a:r>
          </a:p>
          <a:p>
            <a:pPr marL="0" indent="0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)    # this is the function call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5A542-1E63-473B-A589-121627DC9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741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w you have everything you need to start with assignment 2</a:t>
            </a:r>
          </a:p>
        </p:txBody>
      </p:sp>
    </p:spTree>
    <p:extLst>
      <p:ext uri="{BB962C8B-B14F-4D97-AF65-F5344CB8AC3E}">
        <p14:creationId xmlns:p14="http://schemas.microsoft.com/office/powerpoint/2010/main" val="31087778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60191505-0B0C-4A0A-B64A-55E5D7A25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endParaRPr lang="de-DE" dirty="0">
              <a:cs typeface="Arial" pitchFamily="34" charset="0"/>
            </a:endParaRPr>
          </a:p>
          <a:p>
            <a:pPr marL="0" indent="0"/>
            <a:r>
              <a:rPr lang="de-DE" dirty="0">
                <a:cs typeface="Arial" pitchFamily="34" charset="0"/>
              </a:rPr>
              <a:t>Dominik Buchegger</a:t>
            </a:r>
          </a:p>
          <a:p>
            <a:pPr marL="0" indent="0"/>
            <a:r>
              <a:rPr lang="de-DE" b="0" dirty="0">
                <a:hlinkClick r:id="rId3"/>
              </a:rPr>
              <a:t>dominik.buchegger@student.unisg.ch</a:t>
            </a:r>
            <a:r>
              <a:rPr lang="de-DE" b="0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Exercise</a:t>
            </a:r>
            <a:endParaRPr lang="de-CH" dirty="0"/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959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endParaRPr lang="de-CH" dirty="0"/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342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A277052-343C-932C-49C0-48D3043FCA28}"/>
              </a:ext>
            </a:extLst>
          </p:cNvPr>
          <p:cNvGraphicFramePr>
            <a:graphicFrameLocks/>
          </p:cNvGraphicFramePr>
          <p:nvPr/>
        </p:nvGraphicFramePr>
        <p:xfrm>
          <a:off x="5078241" y="1821562"/>
          <a:ext cx="3706983" cy="2125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5460">
                  <a:extLst>
                    <a:ext uri="{9D8B030D-6E8A-4147-A177-3AD203B41FA5}">
                      <a16:colId xmlns:a16="http://schemas.microsoft.com/office/drawing/2014/main" val="3645947868"/>
                    </a:ext>
                  </a:extLst>
                </a:gridCol>
                <a:gridCol w="1325722">
                  <a:extLst>
                    <a:ext uri="{9D8B030D-6E8A-4147-A177-3AD203B41FA5}">
                      <a16:colId xmlns:a16="http://schemas.microsoft.com/office/drawing/2014/main" val="2775125223"/>
                    </a:ext>
                  </a:extLst>
                </a:gridCol>
                <a:gridCol w="544210">
                  <a:extLst>
                    <a:ext uri="{9D8B030D-6E8A-4147-A177-3AD203B41FA5}">
                      <a16:colId xmlns:a16="http://schemas.microsoft.com/office/drawing/2014/main" val="2216889458"/>
                    </a:ext>
                  </a:extLst>
                </a:gridCol>
                <a:gridCol w="1191591">
                  <a:extLst>
                    <a:ext uri="{9D8B030D-6E8A-4147-A177-3AD203B41FA5}">
                      <a16:colId xmlns:a16="http://schemas.microsoft.com/office/drawing/2014/main" val="3789224909"/>
                    </a:ext>
                  </a:extLst>
                </a:gridCol>
              </a:tblGrid>
              <a:tr h="297199">
                <a:tc>
                  <a:txBody>
                    <a:bodyPr/>
                    <a:lstStyle/>
                    <a:p>
                      <a:r>
                        <a:rPr lang="de-DE" sz="1100"/>
                        <a:t>Type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What</a:t>
                      </a:r>
                      <a:r>
                        <a:rPr lang="de-DE" sz="1100"/>
                        <a:t>?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Short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Exampl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2226672632"/>
                  </a:ext>
                </a:extLst>
              </a:tr>
              <a:tr h="350445">
                <a:tc>
                  <a:txBody>
                    <a:bodyPr/>
                    <a:lstStyle/>
                    <a:p>
                      <a:r>
                        <a:rPr lang="de-DE" sz="1100"/>
                        <a:t>Integer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Natural </a:t>
                      </a:r>
                      <a:r>
                        <a:rPr lang="de-DE" sz="1100" err="1"/>
                        <a:t>numbers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int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-42, 0, 1000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567462367"/>
                  </a:ext>
                </a:extLst>
              </a:tr>
              <a:tr h="350445">
                <a:tc>
                  <a:txBody>
                    <a:bodyPr/>
                    <a:lstStyle/>
                    <a:p>
                      <a:r>
                        <a:rPr lang="de-DE" sz="1100"/>
                        <a:t>Float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Floating </a:t>
                      </a:r>
                      <a:r>
                        <a:rPr lang="de-DE" sz="1100" err="1"/>
                        <a:t>point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valu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float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-42.0, 0.7, 3.14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1431999873"/>
                  </a:ext>
                </a:extLst>
              </a:tr>
              <a:tr h="492518">
                <a:tc>
                  <a:txBody>
                    <a:bodyPr/>
                    <a:lstStyle/>
                    <a:p>
                      <a:r>
                        <a:rPr lang="de-DE" sz="1100"/>
                        <a:t>String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Concatenation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of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characters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str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‚42‘  ‚Hello‘  ‚3.14‘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3697852839"/>
                  </a:ext>
                </a:extLst>
              </a:tr>
              <a:tr h="634590">
                <a:tc>
                  <a:txBody>
                    <a:bodyPr/>
                    <a:lstStyle/>
                    <a:p>
                      <a:r>
                        <a:rPr lang="de-DE" sz="1100"/>
                        <a:t>Boolean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Type with one of two possible values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bool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True, </a:t>
                      </a:r>
                      <a:r>
                        <a:rPr lang="de-DE" sz="1100" err="1"/>
                        <a:t>Fals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1650970667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Recognize</a:t>
            </a:r>
            <a:r>
              <a:rPr lang="de-DE" b="1"/>
              <a:t> </a:t>
            </a:r>
            <a:r>
              <a:rPr lang="de-DE" b="1" err="1"/>
              <a:t>data</a:t>
            </a:r>
            <a:r>
              <a:rPr lang="de-DE" b="1"/>
              <a:t> </a:t>
            </a:r>
            <a:r>
              <a:rPr lang="de-DE" b="1" err="1"/>
              <a:t>types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strings, int, float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1501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755F585-EC07-8244-B69D-6824705AC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07511" y="1276349"/>
            <a:ext cx="1853483" cy="2784374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 lnSpcReduction="10000"/>
          </a:bodyPr>
          <a:lstStyle/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a = ‘Hello World’</a:t>
            </a:r>
          </a:p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type(a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tr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 = 5.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b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float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c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nt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 = str(c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c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tr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F43209B-05FF-592E-AFCE-720793A2F3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276349"/>
            <a:ext cx="4478267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type() and </a:t>
            </a:r>
            <a:r>
              <a:rPr lang="de-DE" b="1" err="1"/>
              <a:t>changing</a:t>
            </a:r>
            <a:r>
              <a:rPr lang="de-DE" b="1"/>
              <a:t> </a:t>
            </a:r>
            <a:r>
              <a:rPr lang="de-DE" b="1" err="1"/>
              <a:t>var</a:t>
            </a:r>
            <a:r>
              <a:rPr lang="de-DE" b="1"/>
              <a:t> type (</a:t>
            </a:r>
            <a:r>
              <a:rPr lang="de-DE" b="1" err="1">
                <a:sym typeface="Wingdings" panose="05000000000000000000" pitchFamily="2" charset="2"/>
              </a:rPr>
              <a:t>int</a:t>
            </a:r>
            <a:r>
              <a:rPr lang="de-DE" b="1">
                <a:sym typeface="Wingdings" panose="05000000000000000000" pitchFamily="2" charset="2"/>
              </a:rPr>
              <a:t>(), </a:t>
            </a:r>
            <a:r>
              <a:rPr lang="de-DE" b="1" err="1">
                <a:sym typeface="Wingdings" panose="05000000000000000000" pitchFamily="2" charset="2"/>
              </a:rPr>
              <a:t>str</a:t>
            </a:r>
            <a:r>
              <a:rPr lang="de-DE" b="1">
                <a:sym typeface="Wingdings" panose="05000000000000000000" pitchFamily="2" charset="2"/>
              </a:rPr>
              <a:t>(), </a:t>
            </a:r>
            <a:r>
              <a:rPr lang="de-DE" b="1" err="1">
                <a:sym typeface="Wingdings" panose="05000000000000000000" pitchFamily="2" charset="2"/>
              </a:rPr>
              <a:t>float</a:t>
            </a:r>
            <a:r>
              <a:rPr lang="de-DE" b="1"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Print() (variables, </a:t>
            </a:r>
            <a:r>
              <a:rPr lang="de-DE" err="1"/>
              <a:t>strings</a:t>
            </a:r>
            <a:r>
              <a:rPr lang="de-DE"/>
              <a:t>, </a:t>
            </a:r>
            <a:r>
              <a:rPr lang="de-DE" err="1"/>
              <a:t>int</a:t>
            </a:r>
            <a:r>
              <a:rPr lang="de-DE"/>
              <a:t>, </a:t>
            </a:r>
            <a:r>
              <a:rPr lang="de-DE" err="1"/>
              <a:t>float</a:t>
            </a:r>
            <a:r>
              <a:rPr lang="de-DE"/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00145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Create a </a:t>
            </a:r>
            <a:r>
              <a:rPr lang="de-DE" b="1" err="1"/>
              <a:t>calculator</a:t>
            </a:r>
            <a:r>
              <a:rPr lang="de-DE" b="1"/>
              <a:t> (</a:t>
            </a:r>
            <a:r>
              <a:rPr lang="de-DE" b="1" err="1"/>
              <a:t>no</a:t>
            </a:r>
            <a:r>
              <a:rPr lang="de-DE" b="1"/>
              <a:t> </a:t>
            </a:r>
            <a:r>
              <a:rPr lang="de-DE" b="1" err="1"/>
              <a:t>user</a:t>
            </a:r>
            <a:r>
              <a:rPr lang="de-DE" b="1"/>
              <a:t> </a:t>
            </a:r>
            <a:r>
              <a:rPr lang="de-DE" b="1" err="1"/>
              <a:t>input</a:t>
            </a:r>
            <a:r>
              <a:rPr lang="de-DE" b="1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b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963D7E15-F8C4-28E2-271B-DDE19838BE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8" y="1661108"/>
            <a:ext cx="4122737" cy="2430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 sz="1100" b="1"/>
              <a:t>Examples of arithmetic operations in Python</a:t>
            </a:r>
          </a:p>
          <a:p>
            <a:r>
              <a:rPr lang="en-US" sz="1100"/>
              <a:t>	</a:t>
            </a:r>
          </a:p>
          <a:p>
            <a:r>
              <a:rPr lang="en-US" sz="1100"/>
              <a:t>	Arithmetic rules apply: Parenthesis before power before multiplication/division before addition/subtraction</a:t>
            </a:r>
          </a:p>
          <a:p>
            <a:endParaRPr lang="en-US" sz="110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100"/>
              <a:t>Python has built-in arithmetic operations. These include +, -, *, /, //, **, % </a:t>
            </a:r>
          </a:p>
          <a:p>
            <a:pPr lvl="2"/>
            <a:r>
              <a:rPr lang="en-US" sz="1100"/>
              <a:t>In computing, the modulo operation 		         returns the remainder of a division,      		     after one number is divided by another                            (called the modulus of the operation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10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100"/>
              <a:t>Other mathematical operations can be imported with libraries </a:t>
            </a:r>
          </a:p>
          <a:p>
            <a:endParaRPr lang="de-DE" sz="1100"/>
          </a:p>
        </p:txBody>
      </p:sp>
      <p:pic>
        <p:nvPicPr>
          <p:cNvPr id="12" name="Content Placeholder 5">
            <a:extLst>
              <a:ext uri="{FF2B5EF4-FFF2-40B4-BE49-F238E27FC236}">
                <a16:creationId xmlns:a16="http://schemas.microsoft.com/office/drawing/2014/main" id="{C85BEE58-C060-07DA-5FF2-767A2E0EE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2130" y="2956507"/>
            <a:ext cx="810446" cy="5633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0614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Computation</a:t>
            </a:r>
            <a:r>
              <a:rPr lang="de-DE" b="1"/>
              <a:t> </a:t>
            </a:r>
            <a:r>
              <a:rPr lang="de-DE" b="1" err="1"/>
              <a:t>with</a:t>
            </a:r>
            <a:r>
              <a:rPr lang="de-DE" b="1"/>
              <a:t> </a:t>
            </a:r>
            <a:r>
              <a:rPr lang="de-DE" b="1" err="1"/>
              <a:t>int</a:t>
            </a:r>
            <a:r>
              <a:rPr lang="de-DE" b="1"/>
              <a:t> and </a:t>
            </a:r>
            <a:r>
              <a:rPr lang="de-DE" b="1" err="1"/>
              <a:t>float</a:t>
            </a:r>
            <a:r>
              <a:rPr lang="de-DE" b="1"/>
              <a:t> vs. </a:t>
            </a:r>
            <a:r>
              <a:rPr lang="de-DE" b="1" err="1"/>
              <a:t>computation</a:t>
            </a:r>
            <a:r>
              <a:rPr lang="de-DE" b="1"/>
              <a:t> </a:t>
            </a:r>
            <a:r>
              <a:rPr lang="de-DE" b="1" err="1"/>
              <a:t>with</a:t>
            </a:r>
            <a:r>
              <a:rPr lang="de-DE" b="1"/>
              <a:t> </a:t>
            </a:r>
            <a:r>
              <a:rPr lang="de-DE" b="1" err="1"/>
              <a:t>string</a:t>
            </a:r>
            <a:r>
              <a:rPr lang="de-DE" b="1"/>
              <a:t> and </a:t>
            </a:r>
            <a:r>
              <a:rPr lang="de-DE" b="1" err="1"/>
              <a:t>int</a:t>
            </a:r>
            <a:r>
              <a:rPr lang="de-DE" b="1"/>
              <a:t>/</a:t>
            </a:r>
            <a:r>
              <a:rPr lang="de-DE" b="1" err="1"/>
              <a:t>float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6F8E65C-9AF2-64FF-B69A-BF31EA1978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76349"/>
            <a:ext cx="2070533" cy="3568153"/>
          </a:xfrm>
          <a:solidFill>
            <a:schemeClr val="bg2">
              <a:lumMod val="95000"/>
            </a:schemeClr>
          </a:solidFill>
        </p:spPr>
        <p:txBody>
          <a:bodyPr lIns="108000" tIns="108000" rIns="108000" bIns="72000">
            <a:normAutofit/>
          </a:bodyPr>
          <a:lstStyle/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int and int operations yield in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</a:t>
            </a: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 9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.0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and float operations yield floa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9.0</a:t>
            </a:r>
          </a:p>
          <a:p>
            <a:pPr marL="0" indent="0"/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5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ions always yield floa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/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</a:t>
            </a: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 9.0</a:t>
            </a:r>
          </a:p>
          <a:p>
            <a:pPr marL="0" indent="0"/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AD6E3A66-D3BF-F269-1C9A-790168C798A2}"/>
              </a:ext>
            </a:extLst>
          </p:cNvPr>
          <p:cNvSpPr txBox="1">
            <a:spLocks/>
          </p:cNvSpPr>
          <p:nvPr/>
        </p:nvSpPr>
        <p:spPr>
          <a:xfrm>
            <a:off x="6733019" y="1276349"/>
            <a:ext cx="1768591" cy="356815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72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“5”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nnot use arithmetic operations on number and strings. A string can be converted (e.g., int(“5”).</a:t>
            </a:r>
          </a:p>
          <a:p>
            <a:endParaRPr lang="en-US" sz="90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“4”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“5”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ing strings is like attaching one string to another</a:t>
            </a:r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 45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(this is the string “45”)</a:t>
            </a:r>
          </a:p>
          <a:p>
            <a:endParaRPr lang="de-DE" sz="120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D5E82EC-94AE-A756-8B51-E235C4AED1BB}"/>
              </a:ext>
            </a:extLst>
          </p:cNvPr>
          <p:cNvCxnSpPr>
            <a:cxnSpLocks/>
          </p:cNvCxnSpPr>
          <p:nvPr/>
        </p:nvCxnSpPr>
        <p:spPr>
          <a:xfrm flipH="1">
            <a:off x="6934200" y="1181307"/>
            <a:ext cx="490331" cy="6243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60ADC324-BE74-4646-9361-7FFA58346797}"/>
              </a:ext>
            </a:extLst>
          </p:cNvPr>
          <p:cNvSpPr/>
          <p:nvPr/>
        </p:nvSpPr>
        <p:spPr>
          <a:xfrm>
            <a:off x="7424531" y="890858"/>
            <a:ext cx="1077079" cy="29044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>
                <a:solidFill>
                  <a:schemeClr val="tx1"/>
                </a:solidFill>
              </a:rPr>
              <a:t>This </a:t>
            </a:r>
            <a:r>
              <a:rPr lang="de-DE" sz="1000" err="1">
                <a:solidFill>
                  <a:schemeClr val="tx1"/>
                </a:solidFill>
              </a:rPr>
              <a:t>is</a:t>
            </a:r>
            <a:r>
              <a:rPr lang="de-DE" sz="1000">
                <a:solidFill>
                  <a:schemeClr val="tx1"/>
                </a:solidFill>
              </a:rPr>
              <a:t> a </a:t>
            </a:r>
            <a:r>
              <a:rPr lang="de-DE" sz="1000" err="1">
                <a:solidFill>
                  <a:schemeClr val="tx1"/>
                </a:solidFill>
              </a:rPr>
              <a:t>comment</a:t>
            </a:r>
            <a:endParaRPr lang="de-DE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460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9" ma:contentTypeDescription="Ein neues Dokument erstellen." ma:contentTypeScope="" ma:versionID="3ac7e300c56cbe738136fa13d3a90518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8e222083bbe7ae665e818514177159bf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8F7A10-D8C7-4204-A685-58CDBFEDD8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0db94c-82de-4c89-acb5-d41e1b03bacc"/>
    <ds:schemaRef ds:uri="5dc96929-7643-4924-91c0-9b0ff05455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1871</Words>
  <Application>Microsoft Office PowerPoint</Application>
  <PresentationFormat>On-screen Show (16:9)</PresentationFormat>
  <Paragraphs>360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</vt:lpstr>
      <vt:lpstr>Calibri</vt:lpstr>
      <vt:lpstr>Courier New</vt:lpstr>
      <vt:lpstr>Gill Alt One MT Light</vt:lpstr>
      <vt:lpstr>Gill Sans Nova</vt:lpstr>
      <vt:lpstr>Gill Sans Nova Light</vt:lpstr>
      <vt:lpstr>Wingdings</vt:lpstr>
      <vt:lpstr>SCS_Theme</vt:lpstr>
      <vt:lpstr>think-cell Slide</vt:lpstr>
      <vt:lpstr>Grundlagen und Methoden  der Informatik</vt:lpstr>
      <vt:lpstr>Today’s Menu</vt:lpstr>
      <vt:lpstr>Previous week</vt:lpstr>
      <vt:lpstr>PowerPoint Presentation</vt:lpstr>
      <vt:lpstr>PowerPoint Presentation</vt:lpstr>
      <vt:lpstr>What the questions were about</vt:lpstr>
      <vt:lpstr>What the questions were about</vt:lpstr>
      <vt:lpstr>What the questions were about</vt:lpstr>
      <vt:lpstr>What the questions were about</vt:lpstr>
      <vt:lpstr>What the questions were about</vt:lpstr>
      <vt:lpstr>What the questions were about  today in detail</vt:lpstr>
      <vt:lpstr>What the questions were about  today in detail</vt:lpstr>
      <vt:lpstr>What the questions were about</vt:lpstr>
      <vt:lpstr>PowerPoint Presentation</vt:lpstr>
      <vt:lpstr>Additional Material on Coding</vt:lpstr>
      <vt:lpstr>What are augmented assignments and how do they work? </vt:lpstr>
      <vt:lpstr>Pass by …</vt:lpstr>
      <vt:lpstr>Scope / Namespace</vt:lpstr>
      <vt:lpstr>Read Documentation (1)</vt:lpstr>
      <vt:lpstr>Read Documentation (2)</vt:lpstr>
      <vt:lpstr>PowerPoint Presentation</vt:lpstr>
      <vt:lpstr>Let’s solve the exercises together…</vt:lpstr>
      <vt:lpstr>PowerPoint Presentation</vt:lpstr>
      <vt:lpstr>How does the for loop work? </vt:lpstr>
      <vt:lpstr>How does range() work? </vt:lpstr>
      <vt:lpstr>PowerPoint Presentation</vt:lpstr>
      <vt:lpstr>Modulo and if-statements (1)</vt:lpstr>
      <vt:lpstr>Modulo and if-statements (2)</vt:lpstr>
      <vt:lpstr>Modulo and if-statements (3)</vt:lpstr>
      <vt:lpstr>Functions  next week in detail </vt:lpstr>
      <vt:lpstr>Now you have everything you need to start with assignment 2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38</cp:revision>
  <dcterms:created xsi:type="dcterms:W3CDTF">2022-09-12T10:36:05Z</dcterms:created>
  <dcterms:modified xsi:type="dcterms:W3CDTF">2023-03-02T19:11:42Z</dcterms:modified>
</cp:coreProperties>
</file>